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363" r:id="rId5"/>
    <p:sldId id="1010" r:id="rId6"/>
    <p:sldId id="361" r:id="rId7"/>
    <p:sldId id="364" r:id="rId8"/>
    <p:sldId id="365" r:id="rId9"/>
    <p:sldId id="366" r:id="rId10"/>
    <p:sldId id="370" r:id="rId11"/>
    <p:sldId id="1011" r:id="rId12"/>
    <p:sldId id="440" r:id="rId13"/>
    <p:sldId id="372" r:id="rId14"/>
    <p:sldId id="374" r:id="rId15"/>
    <p:sldId id="380" r:id="rId16"/>
    <p:sldId id="1005" r:id="rId17"/>
    <p:sldId id="378" r:id="rId18"/>
    <p:sldId id="379" r:id="rId19"/>
    <p:sldId id="381" r:id="rId20"/>
    <p:sldId id="382" r:id="rId21"/>
    <p:sldId id="383" r:id="rId22"/>
    <p:sldId id="384" r:id="rId23"/>
    <p:sldId id="387" r:id="rId24"/>
  </p:sldIdLst>
  <p:sldSz cx="9144000" cy="5184775"/>
  <p:notesSz cx="6858000" cy="9144000"/>
  <p:custDataLst>
    <p:tags r:id="rId2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33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C6463"/>
    <a:srgbClr val="0067B9"/>
    <a:srgbClr val="9F94D4"/>
    <a:srgbClr val="F3FCFF"/>
    <a:srgbClr val="F7FFFF"/>
    <a:srgbClr val="E5F8FF"/>
    <a:srgbClr val="00A3DD"/>
    <a:srgbClr val="CCFFFF"/>
    <a:srgbClr val="A7C6ED"/>
    <a:srgbClr val="33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441" autoAdjust="0"/>
    <p:restoredTop sz="83065" autoAdjust="0"/>
  </p:normalViewPr>
  <p:slideViewPr>
    <p:cSldViewPr snapToGrid="0" snapToObjects="1">
      <p:cViewPr varScale="1">
        <p:scale>
          <a:sx n="73" d="100"/>
          <a:sy n="73" d="100"/>
        </p:scale>
        <p:origin x="1276" y="48"/>
      </p:cViewPr>
      <p:guideLst>
        <p:guide orient="horz" pos="1633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1" d="100"/>
          <a:sy n="61" d="100"/>
        </p:scale>
        <p:origin x="2742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4D9E48-5E7F-D24C-87D5-695B18367D24}" type="datetimeFigureOut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CB10C2-C6DD-5A4A-BF1B-B012B8BA42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975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6357CE-B3EB-1B4A-84E5-C1E2DF427ABD}" type="datetimeFigureOut">
              <a:rPr lang="en-US" smtClean="0"/>
              <a:t>7/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85800"/>
            <a:ext cx="60483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4A558B-E4E9-A94A-B9C1-029E46A76A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93798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0C00456-721A-A94C-800A-D5E7EE91C160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6" name="Picture 15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83077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2527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070586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25650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80107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08997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27033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08314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3F4168E2-91C5-9646-9F53-5B4E70AF759D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18525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- Full Red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66321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Full Red">
    <p:bg>
      <p:bgPr>
        <a:solidFill>
          <a:srgbClr val="002F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14659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27712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54325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14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31923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23587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53309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342274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062974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48454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60763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51827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4963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68523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82969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160972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7772400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6042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20658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9667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01410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0114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A48A4ED-AFD5-41D3-ABE8-2F7A43D60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268921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8"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96AF8A7-B5D4-4789-B9D8-453075F8328D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C017F59-29DA-6F48-B92A-5AD511CC2D63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64207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ame 13"/>
          <p:cNvSpPr/>
          <p:nvPr/>
        </p:nvSpPr>
        <p:spPr>
          <a:xfrm>
            <a:off x="0" y="0"/>
            <a:ext cx="9144000" cy="5189384"/>
          </a:xfrm>
          <a:prstGeom prst="frame">
            <a:avLst>
              <a:gd name="adj1" fmla="val 2963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881333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74" r:id="rId2"/>
    <p:sldLayoutId id="2147483654" r:id="rId3"/>
    <p:sldLayoutId id="2147483708" r:id="rId4"/>
    <p:sldLayoutId id="2147483709" r:id="rId5"/>
    <p:sldLayoutId id="2147483758" r:id="rId6"/>
    <p:sldLayoutId id="2147483710" r:id="rId7"/>
    <p:sldLayoutId id="2147483711" r:id="rId8"/>
    <p:sldLayoutId id="2147483712" r:id="rId9"/>
    <p:sldLayoutId id="2147483714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696" r:id="rId17"/>
    <p:sldLayoutId id="2147483744" r:id="rId18"/>
    <p:sldLayoutId id="2147483745" r:id="rId19"/>
    <p:sldLayoutId id="2147483746" r:id="rId20"/>
    <p:sldLayoutId id="2147483747" r:id="rId21"/>
    <p:sldLayoutId id="2147483748" r:id="rId22"/>
    <p:sldLayoutId id="2147483749" r:id="rId23"/>
    <p:sldLayoutId id="2147483750" r:id="rId24"/>
    <p:sldLayoutId id="2147483751" r:id="rId25"/>
    <p:sldLayoutId id="2147483752" r:id="rId26"/>
    <p:sldLayoutId id="2147483753" r:id="rId27"/>
    <p:sldLayoutId id="2147483754" r:id="rId28"/>
    <p:sldLayoutId id="2147483755" r:id="rId29"/>
    <p:sldLayoutId id="2147483756" r:id="rId30"/>
    <p:sldLayoutId id="2147483757" r:id="rId31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•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67C910-6A7C-4717-B163-0D8D77457B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1294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November 18, 2019</a:t>
            </a: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fr-FR" dirty="0"/>
              <a:t>Auction Design – Part 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5945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7087B3-73AD-4A9F-B975-7F8FD40FAC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06DE4C-A3ED-4E41-AC08-39967B48F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E86EED5-799A-4F27-82A1-187E5F7B8B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1000" y="2005007"/>
            <a:ext cx="8012723" cy="2944811"/>
          </a:xfrm>
        </p:spPr>
        <p:txBody>
          <a:bodyPr>
            <a:noAutofit/>
          </a:bodyPr>
          <a:lstStyle/>
          <a:p>
            <a:r>
              <a:rPr lang="en-US" b="1"/>
              <a:t>Main</a:t>
            </a:r>
            <a:r>
              <a:rPr lang="en-US"/>
              <a:t> goals: </a:t>
            </a:r>
          </a:p>
          <a:p>
            <a:pPr lvl="1"/>
            <a:r>
              <a:rPr lang="en-US"/>
              <a:t>Allocating available funding efficiently and </a:t>
            </a:r>
          </a:p>
          <a:p>
            <a:pPr lvl="1"/>
            <a:r>
              <a:rPr lang="en-US"/>
              <a:t>Achieving RE generation targets through timely project realization </a:t>
            </a:r>
          </a:p>
          <a:p>
            <a:r>
              <a:rPr lang="en-US" b="1"/>
              <a:t>Other</a:t>
            </a:r>
            <a:r>
              <a:rPr lang="en-US"/>
              <a:t> policy goals include e.g.: </a:t>
            </a:r>
          </a:p>
          <a:p>
            <a:pPr lvl="1"/>
            <a:r>
              <a:rPr lang="en-US"/>
              <a:t>Grid and system integration of awarded projects </a:t>
            </a:r>
          </a:p>
          <a:p>
            <a:pPr lvl="1"/>
            <a:r>
              <a:rPr lang="en-US"/>
              <a:t>Local value creation</a:t>
            </a:r>
          </a:p>
          <a:p>
            <a:r>
              <a:rPr lang="en-US"/>
              <a:t>Recognize </a:t>
            </a:r>
            <a:r>
              <a:rPr lang="en-US" b="1"/>
              <a:t>trade-offs</a:t>
            </a:r>
            <a:r>
              <a:rPr lang="en-US"/>
              <a:t> between policy objectives and agree on prioritization, e.g.: </a:t>
            </a:r>
          </a:p>
          <a:p>
            <a:pPr lvl="1"/>
            <a:r>
              <a:rPr lang="en-US"/>
              <a:t>Financial guarantees help ensure seriousness of bids and increase project realization, but could increase financing costs and lead to higher bid prices. </a:t>
            </a:r>
          </a:p>
          <a:p>
            <a:endParaRPr lang="en-US"/>
          </a:p>
        </p:txBody>
      </p:sp>
      <p:sp>
        <p:nvSpPr>
          <p:cNvPr id="14" name="Freeform: Shape 13" descr="Target definition">
            <a:extLst>
              <a:ext uri="{FF2B5EF4-FFF2-40B4-BE49-F238E27FC236}">
                <a16:creationId xmlns:a16="http://schemas.microsoft.com/office/drawing/2014/main" id="{DF4683A3-13E5-4038-A45B-B2BE7257B763}"/>
              </a:ext>
            </a:extLst>
          </p:cNvPr>
          <p:cNvSpPr/>
          <p:nvPr/>
        </p:nvSpPr>
        <p:spPr>
          <a:xfrm>
            <a:off x="651000" y="1282807"/>
            <a:ext cx="2625600" cy="679450"/>
          </a:xfrm>
          <a:custGeom>
            <a:avLst/>
            <a:gdLst>
              <a:gd name="connsiteX0" fmla="*/ 0 w 1704050"/>
              <a:gd name="connsiteY0" fmla="*/ 0 h 496296"/>
              <a:gd name="connsiteX1" fmla="*/ 1455902 w 1704050"/>
              <a:gd name="connsiteY1" fmla="*/ 0 h 496296"/>
              <a:gd name="connsiteX2" fmla="*/ 1704050 w 1704050"/>
              <a:gd name="connsiteY2" fmla="*/ 248148 h 496296"/>
              <a:gd name="connsiteX3" fmla="*/ 1455902 w 1704050"/>
              <a:gd name="connsiteY3" fmla="*/ 496296 h 496296"/>
              <a:gd name="connsiteX4" fmla="*/ 0 w 1704050"/>
              <a:gd name="connsiteY4" fmla="*/ 496296 h 496296"/>
              <a:gd name="connsiteX5" fmla="*/ 248148 w 1704050"/>
              <a:gd name="connsiteY5" fmla="*/ 248148 h 496296"/>
              <a:gd name="connsiteX6" fmla="*/ 0 w 1704050"/>
              <a:gd name="connsiteY6" fmla="*/ 0 h 496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04050" h="496296">
                <a:moveTo>
                  <a:pt x="0" y="0"/>
                </a:moveTo>
                <a:lnTo>
                  <a:pt x="1455902" y="0"/>
                </a:lnTo>
                <a:lnTo>
                  <a:pt x="1704050" y="248148"/>
                </a:lnTo>
                <a:lnTo>
                  <a:pt x="1455902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320157" tIns="24003" rIns="272151" bIns="24003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Target defini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ED01F1E-0F1E-4B90-ACC4-2E423AA7EA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RE targets and policy objectives need to be discussed and clarified early in the proces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77F88E-3112-4ADE-8918-ABF78389B1BD}"/>
              </a:ext>
            </a:extLst>
          </p:cNvPr>
          <p:cNvSpPr txBox="1"/>
          <p:nvPr/>
        </p:nvSpPr>
        <p:spPr>
          <a:xfrm>
            <a:off x="6958281" y="162840"/>
            <a:ext cx="203331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Policy goals and market &amp; regulatory analysis</a:t>
            </a:r>
          </a:p>
        </p:txBody>
      </p:sp>
    </p:spTree>
    <p:extLst>
      <p:ext uri="{BB962C8B-B14F-4D97-AF65-F5344CB8AC3E}">
        <p14:creationId xmlns:p14="http://schemas.microsoft.com/office/powerpoint/2010/main" val="6336447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7FC1EB-3716-4E8E-9B0E-6FDFE0647D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EF51E7-9C4C-4062-9BF9-A0AF3AD03F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EEEEC88-897D-4459-9E70-F971B90913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2100477"/>
            <a:ext cx="7772400" cy="2733675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b="1" dirty="0"/>
              <a:t>Market size </a:t>
            </a:r>
            <a:r>
              <a:rPr lang="en-US" dirty="0"/>
              <a:t>helps determine the expected level of competition in the competitive procurement and should inform the tendered volume.</a:t>
            </a:r>
          </a:p>
          <a:p>
            <a:pPr marL="457200" indent="-457200">
              <a:buFont typeface="+mj-lt"/>
              <a:buAutoNum type="arabicPeriod"/>
            </a:pPr>
            <a:r>
              <a:rPr lang="en-US" b="1" dirty="0"/>
              <a:t>Project development and operation phases </a:t>
            </a:r>
            <a:r>
              <a:rPr lang="en-US" dirty="0">
                <a:latin typeface="Gill Sans MT" panose="020B0502020104020203" pitchFamily="34" charset="0"/>
                <a:ea typeface="MS Mincho" panose="02020609040205080304" pitchFamily="49" charset="-128"/>
                <a:cs typeface="GillSansMTStd-Book"/>
              </a:rPr>
              <a:t>inform e.g. types of permits required before the auction.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>
                <a:latin typeface="Gill Sans MT" panose="020B0502020104020203" pitchFamily="34" charset="0"/>
                <a:ea typeface="MS Mincho" panose="02020609040205080304" pitchFamily="49" charset="-128"/>
              </a:rPr>
              <a:t>Ensure </a:t>
            </a:r>
            <a:r>
              <a:rPr lang="en-US" b="1" dirty="0">
                <a:latin typeface="Gill Sans MT" panose="020B0502020104020203" pitchFamily="34" charset="0"/>
                <a:ea typeface="MS Mincho" panose="02020609040205080304" pitchFamily="49" charset="-128"/>
              </a:rPr>
              <a:t>institutional capabilities </a:t>
            </a:r>
            <a:r>
              <a:rPr lang="en-US" dirty="0">
                <a:latin typeface="Gill Sans MT" panose="020B0502020104020203" pitchFamily="34" charset="0"/>
                <a:ea typeface="MS Mincho" panose="02020609040205080304" pitchFamily="49" charset="-128"/>
              </a:rPr>
              <a:t>meet auction requirements.</a:t>
            </a:r>
          </a:p>
          <a:p>
            <a:pPr lvl="1"/>
            <a:r>
              <a:rPr lang="en-US" dirty="0">
                <a:latin typeface="Gill Sans MT" panose="020B0502020104020203" pitchFamily="34" charset="0"/>
                <a:ea typeface="MS Mincho" panose="02020609040205080304" pitchFamily="49" charset="-128"/>
              </a:rPr>
              <a:t>Engage with key public stakeholders early on in the process, and select a point-of-contact.</a:t>
            </a:r>
          </a:p>
          <a:p>
            <a:pPr lvl="1"/>
            <a:r>
              <a:rPr lang="en-US" dirty="0">
                <a:latin typeface="Gill Sans MT" panose="020B0502020104020203" pitchFamily="34" charset="0"/>
                <a:ea typeface="MS Mincho" panose="02020609040205080304" pitchFamily="49" charset="-128"/>
              </a:rPr>
              <a:t>Consider the procuring agency’s capacity to transact, retain external expert advisors, especially at early stages</a:t>
            </a:r>
            <a:endParaRPr lang="en-US" dirty="0"/>
          </a:p>
        </p:txBody>
      </p:sp>
      <p:sp>
        <p:nvSpPr>
          <p:cNvPr id="10" name="Freeform: Shape 9" descr="Market &amp; regulatory analysis&#10;">
            <a:extLst>
              <a:ext uri="{FF2B5EF4-FFF2-40B4-BE49-F238E27FC236}">
                <a16:creationId xmlns:a16="http://schemas.microsoft.com/office/drawing/2014/main" id="{37FBDF3A-8AA5-49E2-9AE3-C4865589BD90}"/>
              </a:ext>
            </a:extLst>
          </p:cNvPr>
          <p:cNvSpPr/>
          <p:nvPr/>
        </p:nvSpPr>
        <p:spPr>
          <a:xfrm>
            <a:off x="651000" y="1282807"/>
            <a:ext cx="2625600" cy="679450"/>
          </a:xfrm>
          <a:custGeom>
            <a:avLst/>
            <a:gdLst>
              <a:gd name="connsiteX0" fmla="*/ 0 w 1704050"/>
              <a:gd name="connsiteY0" fmla="*/ 0 h 496296"/>
              <a:gd name="connsiteX1" fmla="*/ 1455902 w 1704050"/>
              <a:gd name="connsiteY1" fmla="*/ 0 h 496296"/>
              <a:gd name="connsiteX2" fmla="*/ 1704050 w 1704050"/>
              <a:gd name="connsiteY2" fmla="*/ 248148 h 496296"/>
              <a:gd name="connsiteX3" fmla="*/ 1455902 w 1704050"/>
              <a:gd name="connsiteY3" fmla="*/ 496296 h 496296"/>
              <a:gd name="connsiteX4" fmla="*/ 0 w 1704050"/>
              <a:gd name="connsiteY4" fmla="*/ 496296 h 496296"/>
              <a:gd name="connsiteX5" fmla="*/ 248148 w 1704050"/>
              <a:gd name="connsiteY5" fmla="*/ 248148 h 496296"/>
              <a:gd name="connsiteX6" fmla="*/ 0 w 1704050"/>
              <a:gd name="connsiteY6" fmla="*/ 0 h 496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04050" h="496296">
                <a:moveTo>
                  <a:pt x="0" y="0"/>
                </a:moveTo>
                <a:lnTo>
                  <a:pt x="1455902" y="0"/>
                </a:lnTo>
                <a:lnTo>
                  <a:pt x="1704050" y="248148"/>
                </a:lnTo>
                <a:lnTo>
                  <a:pt x="1455902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320157" tIns="24003" rIns="272151" bIns="24003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1700" kern="0" dirty="0">
                <a:solidFill>
                  <a:prstClr val="white"/>
                </a:solidFill>
              </a:rPr>
              <a:t>Market &amp; regulatory analysi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B02E3B5-8737-45EA-83A9-05E2341DE5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Competitive procurement needs to fit local market conditions to be successfu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BBACE1-6C39-4660-8153-320FE1613B67}"/>
              </a:ext>
            </a:extLst>
          </p:cNvPr>
          <p:cNvSpPr txBox="1"/>
          <p:nvPr/>
        </p:nvSpPr>
        <p:spPr>
          <a:xfrm>
            <a:off x="6958281" y="162840"/>
            <a:ext cx="203331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olicy goals and market &amp; regulatory analysis</a:t>
            </a:r>
          </a:p>
        </p:txBody>
      </p:sp>
    </p:spTree>
    <p:extLst>
      <p:ext uri="{BB962C8B-B14F-4D97-AF65-F5344CB8AC3E}">
        <p14:creationId xmlns:p14="http://schemas.microsoft.com/office/powerpoint/2010/main" val="2386649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AFC22DC-51CB-468E-B317-DBC4A01A03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7058" y="4844639"/>
            <a:ext cx="2133600" cy="186148"/>
          </a:xfrm>
        </p:spPr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3F4D4E-364E-426B-9E1A-3765E15991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852658" y="4844639"/>
            <a:ext cx="2133600" cy="186148"/>
          </a:xfrm>
        </p:spPr>
        <p:txBody>
          <a:bodyPr/>
          <a:lstStyle/>
          <a:p>
            <a:fld id="{42782948-4DBE-204D-AB9E-B65E067054AE}" type="slidenum">
              <a:rPr lang="en-US" smtClean="0"/>
              <a:pPr/>
              <a:t>12</a:t>
            </a:fld>
            <a:endParaRPr lang="en-US"/>
          </a:p>
        </p:txBody>
      </p:sp>
      <p:grpSp>
        <p:nvGrpSpPr>
          <p:cNvPr id="9" name="Group 8" descr="Focus on auctions: &#10;overview of competitive procurement design">
            <a:extLst>
              <a:ext uri="{FF2B5EF4-FFF2-40B4-BE49-F238E27FC236}">
                <a16:creationId xmlns:a16="http://schemas.microsoft.com/office/drawing/2014/main" id="{7EB38710-0AC9-4736-A6BC-4F9A26CD7398}"/>
              </a:ext>
            </a:extLst>
          </p:cNvPr>
          <p:cNvGrpSpPr/>
          <p:nvPr/>
        </p:nvGrpSpPr>
        <p:grpSpPr>
          <a:xfrm>
            <a:off x="606703" y="1672673"/>
            <a:ext cx="8035197" cy="2908766"/>
            <a:chOff x="183698" y="2242060"/>
            <a:chExt cx="8035197" cy="2908766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50FCB22-BED7-42AE-8083-73D074B2F6EE}"/>
                </a:ext>
              </a:extLst>
            </p:cNvPr>
            <p:cNvSpPr/>
            <p:nvPr/>
          </p:nvSpPr>
          <p:spPr>
            <a:xfrm>
              <a:off x="183698" y="2242060"/>
              <a:ext cx="1768694" cy="850900"/>
            </a:xfrm>
            <a:custGeom>
              <a:avLst/>
              <a:gdLst>
                <a:gd name="connsiteX0" fmla="*/ 0 w 1704050"/>
                <a:gd name="connsiteY0" fmla="*/ 0 h 496296"/>
                <a:gd name="connsiteX1" fmla="*/ 1455902 w 1704050"/>
                <a:gd name="connsiteY1" fmla="*/ 0 h 496296"/>
                <a:gd name="connsiteX2" fmla="*/ 1704050 w 1704050"/>
                <a:gd name="connsiteY2" fmla="*/ 248148 h 496296"/>
                <a:gd name="connsiteX3" fmla="*/ 1455902 w 1704050"/>
                <a:gd name="connsiteY3" fmla="*/ 496296 h 496296"/>
                <a:gd name="connsiteX4" fmla="*/ 0 w 1704050"/>
                <a:gd name="connsiteY4" fmla="*/ 496296 h 496296"/>
                <a:gd name="connsiteX5" fmla="*/ 248148 w 1704050"/>
                <a:gd name="connsiteY5" fmla="*/ 248148 h 496296"/>
                <a:gd name="connsiteX6" fmla="*/ 0 w 1704050"/>
                <a:gd name="connsiteY6" fmla="*/ 0 h 496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04050" h="496296">
                  <a:moveTo>
                    <a:pt x="0" y="0"/>
                  </a:moveTo>
                  <a:lnTo>
                    <a:pt x="1455902" y="0"/>
                  </a:lnTo>
                  <a:lnTo>
                    <a:pt x="1704050" y="248148"/>
                  </a:lnTo>
                  <a:lnTo>
                    <a:pt x="1455902" y="496296"/>
                  </a:lnTo>
                  <a:lnTo>
                    <a:pt x="0" y="496296"/>
                  </a:lnTo>
                  <a:lnTo>
                    <a:pt x="248148" y="2481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txBody>
            <a:bodyPr spcFirstLastPara="0" vert="horz" wrap="square" lIns="320157" tIns="24003" rIns="272151" bIns="24003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Target definition</a:t>
              </a: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B8F2666-13D3-4EAA-A5C7-468B9992FB02}"/>
                </a:ext>
              </a:extLst>
            </p:cNvPr>
            <p:cNvSpPr/>
            <p:nvPr/>
          </p:nvSpPr>
          <p:spPr>
            <a:xfrm>
              <a:off x="1762714" y="2242060"/>
              <a:ext cx="1768694" cy="850900"/>
            </a:xfrm>
            <a:custGeom>
              <a:avLst/>
              <a:gdLst>
                <a:gd name="connsiteX0" fmla="*/ 0 w 1420929"/>
                <a:gd name="connsiteY0" fmla="*/ 0 h 496296"/>
                <a:gd name="connsiteX1" fmla="*/ 1172781 w 1420929"/>
                <a:gd name="connsiteY1" fmla="*/ 0 h 496296"/>
                <a:gd name="connsiteX2" fmla="*/ 1420929 w 1420929"/>
                <a:gd name="connsiteY2" fmla="*/ 248148 h 496296"/>
                <a:gd name="connsiteX3" fmla="*/ 1172781 w 1420929"/>
                <a:gd name="connsiteY3" fmla="*/ 496296 h 496296"/>
                <a:gd name="connsiteX4" fmla="*/ 0 w 1420929"/>
                <a:gd name="connsiteY4" fmla="*/ 496296 h 496296"/>
                <a:gd name="connsiteX5" fmla="*/ 248148 w 1420929"/>
                <a:gd name="connsiteY5" fmla="*/ 248148 h 496296"/>
                <a:gd name="connsiteX6" fmla="*/ 0 w 1420929"/>
                <a:gd name="connsiteY6" fmla="*/ 0 h 496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0929" h="496296">
                  <a:moveTo>
                    <a:pt x="0" y="0"/>
                  </a:moveTo>
                  <a:lnTo>
                    <a:pt x="1172781" y="0"/>
                  </a:lnTo>
                  <a:lnTo>
                    <a:pt x="1420929" y="248148"/>
                  </a:lnTo>
                  <a:lnTo>
                    <a:pt x="1172781" y="496296"/>
                  </a:lnTo>
                  <a:lnTo>
                    <a:pt x="0" y="496296"/>
                  </a:lnTo>
                  <a:lnTo>
                    <a:pt x="248148" y="2481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txBody>
            <a:bodyPr spcFirstLastPara="0" vert="horz" wrap="square" lIns="320157" tIns="24003" rIns="272151" bIns="24003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Market </a:t>
              </a:r>
              <a:r>
                <a:rPr kumimoji="0" lang="de-DE" sz="16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&amp;</a:t>
              </a: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 regulatory analysis</a:t>
              </a: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A616AC5-520E-4CCB-8675-5025C3C12023}"/>
                </a:ext>
              </a:extLst>
            </p:cNvPr>
            <p:cNvSpPr/>
            <p:nvPr/>
          </p:nvSpPr>
          <p:spPr>
            <a:xfrm>
              <a:off x="3295991" y="2242060"/>
              <a:ext cx="1768694" cy="850900"/>
            </a:xfrm>
            <a:custGeom>
              <a:avLst/>
              <a:gdLst>
                <a:gd name="connsiteX0" fmla="*/ 0 w 1362074"/>
                <a:gd name="connsiteY0" fmla="*/ 0 h 496296"/>
                <a:gd name="connsiteX1" fmla="*/ 1113926 w 1362074"/>
                <a:gd name="connsiteY1" fmla="*/ 0 h 496296"/>
                <a:gd name="connsiteX2" fmla="*/ 1362074 w 1362074"/>
                <a:gd name="connsiteY2" fmla="*/ 248148 h 496296"/>
                <a:gd name="connsiteX3" fmla="*/ 1113926 w 1362074"/>
                <a:gd name="connsiteY3" fmla="*/ 496296 h 496296"/>
                <a:gd name="connsiteX4" fmla="*/ 0 w 1362074"/>
                <a:gd name="connsiteY4" fmla="*/ 496296 h 496296"/>
                <a:gd name="connsiteX5" fmla="*/ 248148 w 1362074"/>
                <a:gd name="connsiteY5" fmla="*/ 248148 h 496296"/>
                <a:gd name="connsiteX6" fmla="*/ 0 w 1362074"/>
                <a:gd name="connsiteY6" fmla="*/ 0 h 496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2074" h="496296">
                  <a:moveTo>
                    <a:pt x="0" y="0"/>
                  </a:moveTo>
                  <a:lnTo>
                    <a:pt x="1113926" y="0"/>
                  </a:lnTo>
                  <a:lnTo>
                    <a:pt x="1362074" y="248148"/>
                  </a:lnTo>
                  <a:lnTo>
                    <a:pt x="1113926" y="496296"/>
                  </a:lnTo>
                  <a:lnTo>
                    <a:pt x="0" y="496296"/>
                  </a:lnTo>
                  <a:lnTo>
                    <a:pt x="248148" y="2481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txBody>
            <a:bodyPr spcFirstLastPara="0" vert="horz" wrap="square" lIns="320157" tIns="24003" rIns="272151" bIns="24003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Procurement design</a:t>
              </a: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E420595-D995-4A24-A56C-D1BF50C106FB}"/>
                </a:ext>
              </a:extLst>
            </p:cNvPr>
            <p:cNvSpPr/>
            <p:nvPr/>
          </p:nvSpPr>
          <p:spPr>
            <a:xfrm>
              <a:off x="4871491" y="2242060"/>
              <a:ext cx="1768694" cy="850900"/>
            </a:xfrm>
            <a:custGeom>
              <a:avLst/>
              <a:gdLst>
                <a:gd name="connsiteX0" fmla="*/ 0 w 1745443"/>
                <a:gd name="connsiteY0" fmla="*/ 0 h 496296"/>
                <a:gd name="connsiteX1" fmla="*/ 1497295 w 1745443"/>
                <a:gd name="connsiteY1" fmla="*/ 0 h 496296"/>
                <a:gd name="connsiteX2" fmla="*/ 1745443 w 1745443"/>
                <a:gd name="connsiteY2" fmla="*/ 248148 h 496296"/>
                <a:gd name="connsiteX3" fmla="*/ 1497295 w 1745443"/>
                <a:gd name="connsiteY3" fmla="*/ 496296 h 496296"/>
                <a:gd name="connsiteX4" fmla="*/ 0 w 1745443"/>
                <a:gd name="connsiteY4" fmla="*/ 496296 h 496296"/>
                <a:gd name="connsiteX5" fmla="*/ 248148 w 1745443"/>
                <a:gd name="connsiteY5" fmla="*/ 248148 h 496296"/>
                <a:gd name="connsiteX6" fmla="*/ 0 w 1745443"/>
                <a:gd name="connsiteY6" fmla="*/ 0 h 496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45443" h="496296">
                  <a:moveTo>
                    <a:pt x="0" y="0"/>
                  </a:moveTo>
                  <a:lnTo>
                    <a:pt x="1497295" y="0"/>
                  </a:lnTo>
                  <a:lnTo>
                    <a:pt x="1745443" y="248148"/>
                  </a:lnTo>
                  <a:lnTo>
                    <a:pt x="1497295" y="496296"/>
                  </a:lnTo>
                  <a:lnTo>
                    <a:pt x="0" y="496296"/>
                  </a:lnTo>
                  <a:lnTo>
                    <a:pt x="248148" y="2481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txBody>
            <a:bodyPr spcFirstLastPara="0" vert="horz" wrap="square" lIns="320157" tIns="24003" rIns="272151" bIns="24003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Imple-mentation</a:t>
              </a: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F219978-9019-408F-874C-5BAED6AD7DE3}"/>
                </a:ext>
              </a:extLst>
            </p:cNvPr>
            <p:cNvSpPr/>
            <p:nvPr/>
          </p:nvSpPr>
          <p:spPr>
            <a:xfrm>
              <a:off x="6450201" y="2242060"/>
              <a:ext cx="1768694" cy="850900"/>
            </a:xfrm>
            <a:custGeom>
              <a:avLst/>
              <a:gdLst>
                <a:gd name="connsiteX0" fmla="*/ 0 w 1362074"/>
                <a:gd name="connsiteY0" fmla="*/ 0 h 496296"/>
                <a:gd name="connsiteX1" fmla="*/ 1113926 w 1362074"/>
                <a:gd name="connsiteY1" fmla="*/ 0 h 496296"/>
                <a:gd name="connsiteX2" fmla="*/ 1362074 w 1362074"/>
                <a:gd name="connsiteY2" fmla="*/ 248148 h 496296"/>
                <a:gd name="connsiteX3" fmla="*/ 1113926 w 1362074"/>
                <a:gd name="connsiteY3" fmla="*/ 496296 h 496296"/>
                <a:gd name="connsiteX4" fmla="*/ 0 w 1362074"/>
                <a:gd name="connsiteY4" fmla="*/ 496296 h 496296"/>
                <a:gd name="connsiteX5" fmla="*/ 248148 w 1362074"/>
                <a:gd name="connsiteY5" fmla="*/ 248148 h 496296"/>
                <a:gd name="connsiteX6" fmla="*/ 0 w 1362074"/>
                <a:gd name="connsiteY6" fmla="*/ 0 h 496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2074" h="496296">
                  <a:moveTo>
                    <a:pt x="0" y="0"/>
                  </a:moveTo>
                  <a:lnTo>
                    <a:pt x="1113926" y="0"/>
                  </a:lnTo>
                  <a:lnTo>
                    <a:pt x="1362074" y="248148"/>
                  </a:lnTo>
                  <a:lnTo>
                    <a:pt x="1113926" y="496296"/>
                  </a:lnTo>
                  <a:lnTo>
                    <a:pt x="0" y="496296"/>
                  </a:lnTo>
                  <a:lnTo>
                    <a:pt x="248148" y="2481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  <p:txBody>
            <a:bodyPr spcFirstLastPara="0" vert="horz" wrap="square" lIns="320157" tIns="24003" rIns="272151" bIns="24003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Evaluation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600197E-FF4E-4E3E-AC93-FB50B5BDAA2F}"/>
                </a:ext>
              </a:extLst>
            </p:cNvPr>
            <p:cNvSpPr/>
            <p:nvPr/>
          </p:nvSpPr>
          <p:spPr>
            <a:xfrm>
              <a:off x="3304787" y="3088723"/>
              <a:ext cx="1882433" cy="20621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defTabSz="914400">
                <a:spcBef>
                  <a:spcPts val="600"/>
                </a:spcBef>
                <a:defRPr/>
              </a:pPr>
              <a:r>
                <a:rPr lang="en-GB" sz="1350" kern="0">
                  <a:solidFill>
                    <a:srgbClr val="6C6463"/>
                  </a:solidFill>
                  <a:cs typeface="Arial" charset="0"/>
                </a:rPr>
                <a:t>What is auctioned</a:t>
              </a:r>
            </a:p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50" b="0" i="0" u="none" strike="noStrike" kern="0" cap="none" spc="0" normalizeH="0" baseline="0" noProof="0">
                  <a:ln>
                    <a:noFill/>
                  </a:ln>
                  <a:solidFill>
                    <a:srgbClr val="6C6463"/>
                  </a:solidFill>
                  <a:effectLst/>
                  <a:uLnTx/>
                  <a:uFillTx/>
                  <a:latin typeface="Gill Sans MT"/>
                  <a:ea typeface="+mn-ea"/>
                  <a:cs typeface="Arial" charset="0"/>
                </a:rPr>
                <a:t>Procurement procedure</a:t>
              </a:r>
            </a:p>
            <a:p>
              <a:pPr marL="0" lvl="1" defTabSz="914400">
                <a:spcBef>
                  <a:spcPts val="600"/>
                </a:spcBef>
                <a:defRPr/>
              </a:pPr>
              <a:r>
                <a:rPr lang="en-GB" sz="1350" kern="0">
                  <a:solidFill>
                    <a:srgbClr val="6C6463"/>
                  </a:solidFill>
                  <a:cs typeface="Arial" charset="0"/>
                </a:rPr>
                <a:t>Conditions for participation</a:t>
              </a:r>
              <a:endParaRPr kumimoji="0" lang="en-GB" sz="1350" b="0" i="0" u="none" strike="noStrike" kern="0" cap="none" spc="0" normalizeH="0" baseline="0" noProof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Arial" charset="0"/>
              </a:endParaRPr>
            </a:p>
            <a:p>
              <a:pPr marL="0" lvl="1" defTabSz="914400">
                <a:spcBef>
                  <a:spcPts val="600"/>
                </a:spcBef>
                <a:defRPr/>
              </a:pPr>
              <a:r>
                <a:rPr lang="en-US" sz="1350" kern="0">
                  <a:solidFill>
                    <a:srgbClr val="6C6463"/>
                  </a:solidFill>
                  <a:cs typeface="Arial" charset="0"/>
                </a:rPr>
                <a:t>Enforcement of obligation</a:t>
              </a:r>
            </a:p>
            <a:p>
              <a:pPr marL="0" lvl="1" defTabSz="914400">
                <a:spcBef>
                  <a:spcPts val="600"/>
                </a:spcBef>
                <a:defRPr/>
              </a:pPr>
              <a:r>
                <a:rPr lang="en-US" sz="1350" kern="0">
                  <a:solidFill>
                    <a:srgbClr val="6C6463"/>
                  </a:solidFill>
                  <a:cs typeface="Arial" charset="0"/>
                </a:rPr>
                <a:t>Rights for awarded projects</a:t>
              </a:r>
            </a:p>
          </p:txBody>
        </p:sp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2A71B6C9-C014-4640-81C5-9C6E7ADAF7EE}"/>
                </a:ext>
              </a:extLst>
            </p:cNvPr>
            <p:cNvCxnSpPr/>
            <p:nvPr/>
          </p:nvCxnSpPr>
          <p:spPr bwMode="auto">
            <a:xfrm flipH="1">
              <a:off x="3870117" y="2242060"/>
              <a:ext cx="3607305" cy="12700"/>
            </a:xfrm>
            <a:prstGeom prst="bentConnector5">
              <a:avLst>
                <a:gd name="adj1" fmla="val 0"/>
                <a:gd name="adj2" fmla="val -2676732"/>
                <a:gd name="adj3" fmla="val 99595"/>
              </a:avLst>
            </a:prstGeom>
            <a:solidFill>
              <a:srgbClr val="555759"/>
            </a:solidFill>
            <a:ln w="12700" cap="flat" cmpd="sng" algn="ctr">
              <a:solidFill>
                <a:srgbClr val="555759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1" name="Connector: Elbow 20">
              <a:extLst>
                <a:ext uri="{FF2B5EF4-FFF2-40B4-BE49-F238E27FC236}">
                  <a16:creationId xmlns:a16="http://schemas.microsoft.com/office/drawing/2014/main" id="{FDF38C37-0762-422E-97A9-553920D34812}"/>
                </a:ext>
              </a:extLst>
            </p:cNvPr>
            <p:cNvCxnSpPr/>
            <p:nvPr/>
          </p:nvCxnSpPr>
          <p:spPr bwMode="auto">
            <a:xfrm flipH="1">
              <a:off x="343134" y="2253741"/>
              <a:ext cx="7140903" cy="12700"/>
            </a:xfrm>
            <a:prstGeom prst="bentConnector5">
              <a:avLst>
                <a:gd name="adj1" fmla="val 0"/>
                <a:gd name="adj2" fmla="val -3704457"/>
                <a:gd name="adj3" fmla="val 100113"/>
              </a:avLst>
            </a:prstGeom>
            <a:solidFill>
              <a:srgbClr val="555759"/>
            </a:solidFill>
            <a:ln w="12700" cap="flat" cmpd="sng" algn="ctr">
              <a:solidFill>
                <a:srgbClr val="555759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2" name="Connector: Elbow 21">
              <a:extLst>
                <a:ext uri="{FF2B5EF4-FFF2-40B4-BE49-F238E27FC236}">
                  <a16:creationId xmlns:a16="http://schemas.microsoft.com/office/drawing/2014/main" id="{2C26A57D-42DD-4C43-BD41-9A9048ECA6FB}"/>
                </a:ext>
              </a:extLst>
            </p:cNvPr>
            <p:cNvCxnSpPr/>
            <p:nvPr/>
          </p:nvCxnSpPr>
          <p:spPr bwMode="auto">
            <a:xfrm flipH="1">
              <a:off x="5680386" y="2253741"/>
              <a:ext cx="1803651" cy="12700"/>
            </a:xfrm>
            <a:prstGeom prst="bentConnector5">
              <a:avLst>
                <a:gd name="adj1" fmla="val 0"/>
                <a:gd name="adj2" fmla="val -1591583"/>
                <a:gd name="adj3" fmla="val 99810"/>
              </a:avLst>
            </a:prstGeom>
            <a:solidFill>
              <a:srgbClr val="555759"/>
            </a:solidFill>
            <a:ln w="12700" cap="flat" cmpd="sng" algn="ctr">
              <a:solidFill>
                <a:srgbClr val="555759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sp>
        <p:nvSpPr>
          <p:cNvPr id="5" name="Title 4" descr="Focus on auctions: &#10;overview of competitive procurement design">
            <a:extLst>
              <a:ext uri="{FF2B5EF4-FFF2-40B4-BE49-F238E27FC236}">
                <a16:creationId xmlns:a16="http://schemas.microsoft.com/office/drawing/2014/main" id="{669E3614-6266-4F5D-A329-7DD5DE358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Focus on auctions: </a:t>
            </a:r>
            <a:br>
              <a:rPr lang="en-US" dirty="0"/>
            </a:br>
            <a:r>
              <a:rPr lang="en-US" dirty="0"/>
              <a:t>overview of competitive procurement desig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29E271C-0AAE-45E5-BD6B-3A3E307702ED}"/>
              </a:ext>
            </a:extLst>
          </p:cNvPr>
          <p:cNvSpPr txBox="1"/>
          <p:nvPr/>
        </p:nvSpPr>
        <p:spPr>
          <a:xfrm>
            <a:off x="7401968" y="162840"/>
            <a:ext cx="1589632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Auction design elements – Part 1</a:t>
            </a:r>
          </a:p>
        </p:txBody>
      </p:sp>
    </p:spTree>
    <p:extLst>
      <p:ext uri="{BB962C8B-B14F-4D97-AF65-F5344CB8AC3E}">
        <p14:creationId xmlns:p14="http://schemas.microsoft.com/office/powerpoint/2010/main" val="24507091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1D51F7C-16CF-4906-9460-0B112266BC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E56D1E-7537-4F55-A404-251CB50C72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3569B07-4216-4583-9884-AAC0FCCF6F0F}"/>
              </a:ext>
            </a:extLst>
          </p:cNvPr>
          <p:cNvSpPr/>
          <p:nvPr/>
        </p:nvSpPr>
        <p:spPr bwMode="auto">
          <a:xfrm>
            <a:off x="1276789" y="3761146"/>
            <a:ext cx="6590422" cy="543781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345643" fontAlgn="base">
              <a:spcBef>
                <a:spcPct val="0"/>
              </a:spcBef>
              <a:spcAft>
                <a:spcPct val="20000"/>
              </a:spcAft>
              <a:buClr>
                <a:srgbClr val="7AB800"/>
              </a:buClr>
              <a:buSzPct val="110000"/>
              <a:defRPr/>
            </a:pPr>
            <a:r>
              <a:rPr lang="en-GB" sz="1600" b="1" kern="0" dirty="0">
                <a:solidFill>
                  <a:srgbClr val="635C5B"/>
                </a:solidFill>
                <a:latin typeface="Gill Sans MT"/>
                <a:cs typeface="Arial"/>
              </a:rPr>
              <a:t>Institutions</a:t>
            </a:r>
          </a:p>
          <a:p>
            <a:pPr algn="ctr" defTabSz="345643" fontAlgn="base">
              <a:spcBef>
                <a:spcPct val="0"/>
              </a:spcBef>
              <a:buClr>
                <a:srgbClr val="7AB800"/>
              </a:buClr>
              <a:buSzPct val="110000"/>
              <a:defRPr/>
            </a:pPr>
            <a:r>
              <a:rPr lang="en-GB" sz="1400" i="1" kern="0" dirty="0">
                <a:solidFill>
                  <a:srgbClr val="635C5B"/>
                </a:solidFill>
                <a:latin typeface="Gill Sans MT"/>
                <a:cs typeface="Arial"/>
              </a:rPr>
              <a:t>Auction regulation, design, implementation, contract off-tak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707909-76D3-46C3-9850-C6B1E731204E}"/>
              </a:ext>
            </a:extLst>
          </p:cNvPr>
          <p:cNvSpPr/>
          <p:nvPr/>
        </p:nvSpPr>
        <p:spPr bwMode="auto">
          <a:xfrm>
            <a:off x="5796898" y="2260050"/>
            <a:ext cx="2071997" cy="1393301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345643" fontAlgn="base">
              <a:spcBef>
                <a:spcPct val="0"/>
              </a:spcBef>
              <a:buClr>
                <a:srgbClr val="7AB800"/>
              </a:buClr>
              <a:buSzPct val="110000"/>
              <a:defRPr/>
            </a:pPr>
            <a:r>
              <a:rPr lang="en-GB" sz="1600" b="1" kern="0" dirty="0">
                <a:solidFill>
                  <a:srgbClr val="635C5B"/>
                </a:solidFill>
                <a:latin typeface="Gill Sans MT"/>
                <a:cs typeface="Arial"/>
              </a:rPr>
              <a:t>Enforcement of obligations</a:t>
            </a:r>
            <a:endParaRPr lang="en-GB" sz="1600" i="1" kern="0" dirty="0">
              <a:solidFill>
                <a:srgbClr val="635C5B"/>
              </a:solidFill>
              <a:latin typeface="Gill Sans MT"/>
              <a:cs typeface="Arial"/>
            </a:endParaRPr>
          </a:p>
          <a:p>
            <a:pPr algn="ctr" defTabSz="345643" fontAlgn="base">
              <a:spcBef>
                <a:spcPct val="0"/>
              </a:spcBef>
              <a:buClr>
                <a:srgbClr val="7AB800"/>
              </a:buClr>
              <a:buSzPct val="110000"/>
              <a:defRPr/>
            </a:pPr>
            <a:r>
              <a:rPr lang="en-GB" sz="1400" i="1" kern="0" dirty="0">
                <a:solidFill>
                  <a:srgbClr val="635C5B"/>
                </a:solidFill>
                <a:latin typeface="Gill Sans MT"/>
                <a:cs typeface="Arial"/>
              </a:rPr>
              <a:t>Deadlines and penalties</a:t>
            </a:r>
          </a:p>
          <a:p>
            <a:pPr algn="ctr" defTabSz="345643" fontAlgn="base">
              <a:spcBef>
                <a:spcPct val="0"/>
              </a:spcBef>
              <a:buClr>
                <a:srgbClr val="7AB800"/>
              </a:buClr>
              <a:buSzPct val="110000"/>
              <a:defRPr/>
            </a:pPr>
            <a:endParaRPr lang="en-GB" sz="1400" b="1" kern="0" dirty="0">
              <a:solidFill>
                <a:srgbClr val="635C5B"/>
              </a:solidFill>
              <a:latin typeface="Gill Sans MT"/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B312962-3F20-4B06-A2AB-582AAD1E3C44}"/>
              </a:ext>
            </a:extLst>
          </p:cNvPr>
          <p:cNvSpPr/>
          <p:nvPr/>
        </p:nvSpPr>
        <p:spPr bwMode="auto">
          <a:xfrm>
            <a:off x="3537686" y="2260050"/>
            <a:ext cx="2071997" cy="1393301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345643" fontAlgn="base">
              <a:spcBef>
                <a:spcPct val="0"/>
              </a:spcBef>
              <a:buClr>
                <a:srgbClr val="7AB800"/>
              </a:buClr>
              <a:buSzPct val="110000"/>
              <a:defRPr/>
            </a:pPr>
            <a:r>
              <a:rPr lang="en-GB" sz="1600" b="1" kern="0" dirty="0">
                <a:solidFill>
                  <a:srgbClr val="635C5B"/>
                </a:solidFill>
                <a:latin typeface="Gill Sans MT"/>
                <a:cs typeface="Arial"/>
              </a:rPr>
              <a:t>Conditions for participation</a:t>
            </a:r>
          </a:p>
          <a:p>
            <a:pPr algn="ctr" defTabSz="345643" fontAlgn="base">
              <a:spcBef>
                <a:spcPct val="0"/>
              </a:spcBef>
              <a:buClr>
                <a:srgbClr val="7AB800"/>
              </a:buClr>
              <a:buSzPct val="110000"/>
              <a:defRPr/>
            </a:pPr>
            <a:r>
              <a:rPr lang="en-US" sz="1400" i="1" kern="0" dirty="0">
                <a:solidFill>
                  <a:srgbClr val="635C5B"/>
                </a:solidFill>
                <a:latin typeface="Gill Sans MT"/>
                <a:cs typeface="Arial"/>
              </a:rPr>
              <a:t>Timing of the auction, ceiling price, pre-qualification requirements, financial guarante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FB6BB3E-19AB-4D5B-B159-3FC3D8CCCB8F}"/>
              </a:ext>
            </a:extLst>
          </p:cNvPr>
          <p:cNvSpPr/>
          <p:nvPr/>
        </p:nvSpPr>
        <p:spPr bwMode="auto">
          <a:xfrm>
            <a:off x="1278473" y="2260050"/>
            <a:ext cx="2071997" cy="1393301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345643" fontAlgn="base">
              <a:spcBef>
                <a:spcPct val="0"/>
              </a:spcBef>
              <a:buClr>
                <a:srgbClr val="7AB800"/>
              </a:buClr>
              <a:buSzPct val="110000"/>
              <a:defRPr/>
            </a:pPr>
            <a:r>
              <a:rPr lang="en-GB" sz="1600" b="1" kern="0" dirty="0">
                <a:solidFill>
                  <a:srgbClr val="635C5B"/>
                </a:solidFill>
                <a:latin typeface="Gill Sans MT"/>
                <a:cs typeface="Arial"/>
              </a:rPr>
              <a:t>Competitive procurement</a:t>
            </a:r>
          </a:p>
          <a:p>
            <a:pPr algn="ctr" defTabSz="345643" fontAlgn="base">
              <a:spcBef>
                <a:spcPct val="0"/>
              </a:spcBef>
              <a:buClr>
                <a:srgbClr val="7AB800"/>
              </a:buClr>
              <a:buSzPct val="110000"/>
              <a:defRPr/>
            </a:pPr>
            <a:r>
              <a:rPr lang="en-GB" sz="1600" b="1" kern="0" dirty="0">
                <a:solidFill>
                  <a:srgbClr val="635C5B"/>
                </a:solidFill>
                <a:latin typeface="Gill Sans MT"/>
                <a:cs typeface="Arial"/>
              </a:rPr>
              <a:t>procedure</a:t>
            </a:r>
          </a:p>
          <a:p>
            <a:pPr algn="ctr" defTabSz="345643" fontAlgn="base">
              <a:spcBef>
                <a:spcPct val="0"/>
              </a:spcBef>
              <a:buClr>
                <a:srgbClr val="7AB800"/>
              </a:buClr>
              <a:buSzPct val="110000"/>
              <a:defRPr/>
            </a:pPr>
            <a:r>
              <a:rPr lang="en-US" sz="1400" i="1" kern="0" dirty="0">
                <a:solidFill>
                  <a:srgbClr val="635C5B"/>
                </a:solidFill>
                <a:latin typeface="Gill Sans MT"/>
                <a:cs typeface="Arial"/>
              </a:rPr>
              <a:t>Static vs. dynamic auctions, selection criteria, pricing rule</a:t>
            </a:r>
            <a:endParaRPr lang="en-GB" sz="1400" i="1" kern="0" dirty="0">
              <a:solidFill>
                <a:srgbClr val="635C5B"/>
              </a:solidFill>
              <a:latin typeface="Gill Sans MT"/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0215B9-CCB8-4D7E-AF04-DA607950405B}"/>
              </a:ext>
            </a:extLst>
          </p:cNvPr>
          <p:cNvSpPr/>
          <p:nvPr/>
        </p:nvSpPr>
        <p:spPr bwMode="auto">
          <a:xfrm>
            <a:off x="1278473" y="1432989"/>
            <a:ext cx="6590422" cy="691303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345643" fontAlgn="base">
              <a:spcBef>
                <a:spcPct val="0"/>
              </a:spcBef>
              <a:spcAft>
                <a:spcPct val="20000"/>
              </a:spcAft>
              <a:buClr>
                <a:srgbClr val="7AB800"/>
              </a:buClr>
              <a:buSzPct val="110000"/>
              <a:defRPr/>
            </a:pPr>
            <a:r>
              <a:rPr lang="en-GB" sz="1600" b="1" kern="0" dirty="0">
                <a:solidFill>
                  <a:srgbClr val="635C5B"/>
                </a:solidFill>
                <a:latin typeface="Gill Sans MT"/>
                <a:cs typeface="Arial"/>
              </a:rPr>
              <a:t>General design</a:t>
            </a:r>
          </a:p>
          <a:p>
            <a:pPr algn="ctr" defTabSz="345643" fontAlgn="base">
              <a:spcBef>
                <a:spcPct val="0"/>
              </a:spcBef>
              <a:spcAft>
                <a:spcPct val="20000"/>
              </a:spcAft>
              <a:buClr>
                <a:srgbClr val="7AB800"/>
              </a:buClr>
              <a:buSzPct val="110000"/>
              <a:defRPr/>
            </a:pPr>
            <a:r>
              <a:rPr lang="en-GB" sz="1400" i="1" kern="0" dirty="0">
                <a:solidFill>
                  <a:srgbClr val="635C5B"/>
                </a:solidFill>
                <a:latin typeface="Gill Sans MT"/>
                <a:cs typeface="Arial"/>
              </a:rPr>
              <a:t>Technology type, auctioned item (kWh, KW, budget), site selection approach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33954E-AA45-4B8E-9D83-63484A823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</p:spPr>
        <p:txBody>
          <a:bodyPr/>
          <a:lstStyle/>
          <a:p>
            <a:r>
              <a:rPr lang="en-US"/>
              <a:t>Overview of different design elements and functio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7BFFFBB-875B-4697-A5A3-F0BAF744A368}"/>
              </a:ext>
            </a:extLst>
          </p:cNvPr>
          <p:cNvSpPr txBox="1"/>
          <p:nvPr/>
        </p:nvSpPr>
        <p:spPr>
          <a:xfrm>
            <a:off x="7401968" y="162840"/>
            <a:ext cx="1589632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Auction design elements – Part 1</a:t>
            </a:r>
          </a:p>
        </p:txBody>
      </p:sp>
    </p:spTree>
    <p:extLst>
      <p:ext uri="{BB962C8B-B14F-4D97-AF65-F5344CB8AC3E}">
        <p14:creationId xmlns:p14="http://schemas.microsoft.com/office/powerpoint/2010/main" val="3743831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F2596F-5D0A-4962-94D8-B3C457C2E5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D25A5-C049-4F66-B5D4-832DBE7554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75A389-E5EE-4F4B-9CA7-98133D56C986}"/>
              </a:ext>
            </a:extLst>
          </p:cNvPr>
          <p:cNvSpPr/>
          <p:nvPr/>
        </p:nvSpPr>
        <p:spPr>
          <a:xfrm>
            <a:off x="4840107" y="3058884"/>
            <a:ext cx="4151494" cy="203132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Benefit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Lower admin. burden on government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Site-specific risks mitigated through bidder-driven project developm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Challeng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Lower grid-compatible RE development in absence of locational signals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Higher project risks if uncertainty about project costs and timeline.</a:t>
            </a:r>
          </a:p>
        </p:txBody>
      </p:sp>
      <p:pic>
        <p:nvPicPr>
          <p:cNvPr id="161" name="Picture 160" descr="Bidder-site auction">
            <a:extLst>
              <a:ext uri="{FF2B5EF4-FFF2-40B4-BE49-F238E27FC236}">
                <a16:creationId xmlns:a16="http://schemas.microsoft.com/office/drawing/2014/main" id="{7F56A773-9CB7-4EC6-AC88-0E7B17BEB2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0107" y="1144587"/>
            <a:ext cx="3189469" cy="198335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C2C2CCA-6E6B-4269-A640-A94278B83C4A}"/>
              </a:ext>
            </a:extLst>
          </p:cNvPr>
          <p:cNvSpPr/>
          <p:nvPr/>
        </p:nvSpPr>
        <p:spPr>
          <a:xfrm>
            <a:off x="615035" y="3063120"/>
            <a:ext cx="3987981" cy="181588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Benefit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Grid-compatible RE development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Lower risks &amp; costs of project development if adequate quality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Challeng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Higher admin. burden on government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Reduced role of bidders in finding optimal site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Risk of ‚faulty‘ site selection and prepara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.</a:t>
            </a:r>
          </a:p>
        </p:txBody>
      </p:sp>
      <p:pic>
        <p:nvPicPr>
          <p:cNvPr id="142" name="Picture 141" descr="Government-site auction">
            <a:extLst>
              <a:ext uri="{FF2B5EF4-FFF2-40B4-BE49-F238E27FC236}">
                <a16:creationId xmlns:a16="http://schemas.microsoft.com/office/drawing/2014/main" id="{2A53DDB5-CBC6-4293-9DC7-B2790014FA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104" y="1144587"/>
            <a:ext cx="2771044" cy="1956871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7759EF83-9480-4DC4-A001-CBB600B4F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452089"/>
            <a:ext cx="7772400" cy="461665"/>
          </a:xfrm>
        </p:spPr>
        <p:txBody>
          <a:bodyPr/>
          <a:lstStyle/>
          <a:p>
            <a:r>
              <a:rPr lang="en-US" dirty="0"/>
              <a:t>Site selection and preparation: benefits and challeng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7CF82F-E524-4F87-A132-9D800967F931}"/>
              </a:ext>
            </a:extLst>
          </p:cNvPr>
          <p:cNvSpPr txBox="1"/>
          <p:nvPr/>
        </p:nvSpPr>
        <p:spPr>
          <a:xfrm>
            <a:off x="7869180" y="170655"/>
            <a:ext cx="1122420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Site selection</a:t>
            </a:r>
          </a:p>
        </p:txBody>
      </p:sp>
    </p:spTree>
    <p:extLst>
      <p:ext uri="{BB962C8B-B14F-4D97-AF65-F5344CB8AC3E}">
        <p14:creationId xmlns:p14="http://schemas.microsoft.com/office/powerpoint/2010/main" val="14514249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543336-D3AE-4594-998D-FD0437D1C0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D67265-4446-41AB-9467-A7E13A2A2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5</a:t>
            </a:fld>
            <a:endParaRPr lang="en-US"/>
          </a:p>
        </p:txBody>
      </p:sp>
      <p:grpSp>
        <p:nvGrpSpPr>
          <p:cNvPr id="14" name="Group 13" descr="Country examples include Malaysia, Thailand, Brazil, Mexico, Chile, and Germany">
            <a:extLst>
              <a:ext uri="{FF2B5EF4-FFF2-40B4-BE49-F238E27FC236}">
                <a16:creationId xmlns:a16="http://schemas.microsoft.com/office/drawing/2014/main" id="{E7B14247-2822-4C07-A986-240B04FC695E}"/>
              </a:ext>
            </a:extLst>
          </p:cNvPr>
          <p:cNvGrpSpPr/>
          <p:nvPr/>
        </p:nvGrpSpPr>
        <p:grpSpPr>
          <a:xfrm>
            <a:off x="4800902" y="3572558"/>
            <a:ext cx="3657602" cy="884987"/>
            <a:chOff x="4800598" y="4406329"/>
            <a:chExt cx="3657602" cy="88498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0B1AFBF-2395-4238-B222-41A6D5C3090C}"/>
                </a:ext>
              </a:extLst>
            </p:cNvPr>
            <p:cNvSpPr/>
            <p:nvPr/>
          </p:nvSpPr>
          <p:spPr>
            <a:xfrm>
              <a:off x="4800598" y="4406329"/>
              <a:ext cx="3657599" cy="323165"/>
            </a:xfrm>
            <a:prstGeom prst="rect">
              <a:avLst/>
            </a:prstGeom>
            <a:solidFill>
              <a:schemeClr val="accent3"/>
            </a:solidFill>
            <a:ln>
              <a:solidFill>
                <a:srgbClr val="6C6463"/>
              </a:solidFill>
            </a:ln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untry examples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76A7A59-0E33-4B49-8A3C-901D02D5682F}"/>
                </a:ext>
              </a:extLst>
            </p:cNvPr>
            <p:cNvSpPr/>
            <p:nvPr/>
          </p:nvSpPr>
          <p:spPr>
            <a:xfrm>
              <a:off x="4800600" y="4737318"/>
              <a:ext cx="3657600" cy="553998"/>
            </a:xfrm>
            <a:prstGeom prst="rect">
              <a:avLst/>
            </a:prstGeom>
            <a:ln>
              <a:solidFill>
                <a:srgbClr val="6C6463"/>
              </a:solidFill>
            </a:ln>
          </p:spPr>
          <p:txBody>
            <a:bodyPr wrap="square">
              <a:spAutoFit/>
            </a:bodyPr>
            <a:lstStyle/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laysia, Thailand</a:t>
              </a:r>
            </a:p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razil, Mexico, Chile, Germany </a:t>
              </a:r>
            </a:p>
          </p:txBody>
        </p:sp>
      </p:grpSp>
      <p:pic>
        <p:nvPicPr>
          <p:cNvPr id="10" name="Picture 9" descr="Bidder-site auction">
            <a:extLst>
              <a:ext uri="{FF2B5EF4-FFF2-40B4-BE49-F238E27FC236}">
                <a16:creationId xmlns:a16="http://schemas.microsoft.com/office/drawing/2014/main" id="{70860D16-5C39-4DE5-BEE3-D8FF894916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0107" y="1238417"/>
            <a:ext cx="3189469" cy="1983353"/>
          </a:xfrm>
          <a:prstGeom prst="rect">
            <a:avLst/>
          </a:prstGeom>
        </p:spPr>
      </p:pic>
      <p:grpSp>
        <p:nvGrpSpPr>
          <p:cNvPr id="11" name="Group 10" descr="Country examples include Indonesia's geothermal and Dubai/Abu Dhabi (UAE)">
            <a:extLst>
              <a:ext uri="{FF2B5EF4-FFF2-40B4-BE49-F238E27FC236}">
                <a16:creationId xmlns:a16="http://schemas.microsoft.com/office/drawing/2014/main" id="{2DCFEA05-4093-48E5-A5D7-A5BBAF387EEE}"/>
              </a:ext>
            </a:extLst>
          </p:cNvPr>
          <p:cNvGrpSpPr/>
          <p:nvPr/>
        </p:nvGrpSpPr>
        <p:grpSpPr>
          <a:xfrm>
            <a:off x="615321" y="3572558"/>
            <a:ext cx="3657600" cy="884987"/>
            <a:chOff x="418254" y="4406329"/>
            <a:chExt cx="3657600" cy="884987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DC5E9B1-A34A-4BFC-953B-4789D6949420}"/>
                </a:ext>
              </a:extLst>
            </p:cNvPr>
            <p:cNvSpPr/>
            <p:nvPr/>
          </p:nvSpPr>
          <p:spPr>
            <a:xfrm>
              <a:off x="418254" y="4406329"/>
              <a:ext cx="3657600" cy="323165"/>
            </a:xfrm>
            <a:prstGeom prst="rect">
              <a:avLst/>
            </a:prstGeom>
            <a:solidFill>
              <a:schemeClr val="accent3"/>
            </a:solidFill>
            <a:ln>
              <a:solidFill>
                <a:srgbClr val="6C6463"/>
              </a:solidFill>
            </a:ln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untry examples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CD635FA-DD78-4A69-9CDC-2927D8E8632F}"/>
                </a:ext>
              </a:extLst>
            </p:cNvPr>
            <p:cNvSpPr/>
            <p:nvPr/>
          </p:nvSpPr>
          <p:spPr>
            <a:xfrm>
              <a:off x="418254" y="4737318"/>
              <a:ext cx="3657600" cy="553998"/>
            </a:xfrm>
            <a:prstGeom prst="rect">
              <a:avLst/>
            </a:prstGeom>
            <a:ln>
              <a:solidFill>
                <a:srgbClr val="6C6463"/>
              </a:solidFill>
            </a:ln>
          </p:spPr>
          <p:txBody>
            <a:bodyPr wrap="square">
              <a:spAutoFit/>
            </a:bodyPr>
            <a:lstStyle/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500" dirty="0">
                  <a:solidFill>
                    <a:srgbClr val="635C5B"/>
                  </a:solidFill>
                  <a:latin typeface="Arial"/>
                </a:rPr>
                <a:t>Indonesia’s geothermal </a:t>
              </a:r>
            </a:p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635C5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ubai/Abu Dhabi (UAE)</a:t>
              </a:r>
            </a:p>
          </p:txBody>
        </p:sp>
      </p:grpSp>
      <p:pic>
        <p:nvPicPr>
          <p:cNvPr id="9" name="Picture 8" descr="Government-site auction">
            <a:extLst>
              <a:ext uri="{FF2B5EF4-FFF2-40B4-BE49-F238E27FC236}">
                <a16:creationId xmlns:a16="http://schemas.microsoft.com/office/drawing/2014/main" id="{C18BAF34-15E3-4101-ACC7-0BBD5ABC27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104" y="1238417"/>
            <a:ext cx="2771044" cy="1956871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F85BCFA7-5BB3-4D85-BEB8-D8870A647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555937"/>
            <a:ext cx="7772400" cy="461665"/>
          </a:xfrm>
        </p:spPr>
        <p:txBody>
          <a:bodyPr/>
          <a:lstStyle/>
          <a:p>
            <a:r>
              <a:rPr lang="en-US"/>
              <a:t>Site selection and preparation: country examp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F409BDA-0E6F-415A-BB4A-6C59BB2D7F1C}"/>
              </a:ext>
            </a:extLst>
          </p:cNvPr>
          <p:cNvSpPr txBox="1"/>
          <p:nvPr/>
        </p:nvSpPr>
        <p:spPr>
          <a:xfrm>
            <a:off x="7869180" y="162840"/>
            <a:ext cx="1122420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Site selection</a:t>
            </a:r>
          </a:p>
        </p:txBody>
      </p:sp>
    </p:spTree>
    <p:extLst>
      <p:ext uri="{BB962C8B-B14F-4D97-AF65-F5344CB8AC3E}">
        <p14:creationId xmlns:p14="http://schemas.microsoft.com/office/powerpoint/2010/main" val="25177096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17AC9C-FA0C-4AA1-8BB1-CCD0DDB0E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6220AC-2AD1-4932-AFC9-E7D34F43D0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1C6FC84-9E3D-4FAA-82D1-63398422DBCD}"/>
              </a:ext>
            </a:extLst>
          </p:cNvPr>
          <p:cNvSpPr txBox="1"/>
          <p:nvPr/>
        </p:nvSpPr>
        <p:spPr>
          <a:xfrm>
            <a:off x="7734300" y="4744936"/>
            <a:ext cx="1104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 err="1">
                <a:solidFill>
                  <a:schemeClr val="bg1">
                    <a:lumMod val="50000"/>
                  </a:schemeClr>
                </a:solidFill>
              </a:rPr>
              <a:t>Based</a:t>
            </a:r>
            <a:r>
              <a:rPr lang="de-DE" sz="1200" i="1" dirty="0">
                <a:solidFill>
                  <a:schemeClr val="bg1">
                    <a:lumMod val="50000"/>
                  </a:schemeClr>
                </a:solidFill>
              </a:rPr>
              <a:t> on </a:t>
            </a:r>
            <a:r>
              <a:rPr lang="de-DE" sz="1200" i="1" dirty="0" err="1">
                <a:solidFill>
                  <a:schemeClr val="bg1">
                    <a:lumMod val="50000"/>
                  </a:schemeClr>
                </a:solidFill>
              </a:rPr>
              <a:t>Takon</a:t>
            </a:r>
            <a:endParaRPr lang="en-US" sz="12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59349AF-0950-4B0E-AD5F-480A63855F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7332" y="1144588"/>
            <a:ext cx="8391868" cy="3612740"/>
          </a:xfrm>
        </p:spPr>
        <p:txBody>
          <a:bodyPr>
            <a:normAutofit/>
          </a:bodyPr>
          <a:lstStyle/>
          <a:p>
            <a:pPr marL="457200" lvl="0" indent="-457200">
              <a:lnSpc>
                <a:spcPct val="120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Competitive procurement for one (1) RE project. </a:t>
            </a:r>
          </a:p>
          <a:p>
            <a:pPr marL="457200" lvl="0" indent="-457200">
              <a:lnSpc>
                <a:spcPct val="120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The costs of the RE project ($/MWh) are given by the contents of the bag. Costs per piece: </a:t>
            </a:r>
          </a:p>
          <a:p>
            <a:pPr lvl="1">
              <a:lnSpc>
                <a:spcPct val="120000"/>
              </a:lnSpc>
              <a:spcAft>
                <a:spcPts val="0"/>
              </a:spcAft>
            </a:pPr>
            <a:r>
              <a:rPr lang="en-US" dirty="0"/>
              <a:t>Dark chocolate </a:t>
            </a:r>
            <a:r>
              <a:rPr lang="en-US" dirty="0">
                <a:sym typeface="Wingdings" panose="05000000000000000000" pitchFamily="2" charset="2"/>
              </a:rPr>
              <a:t> $4</a:t>
            </a:r>
          </a:p>
          <a:p>
            <a:pPr lvl="1">
              <a:lnSpc>
                <a:spcPct val="120000"/>
              </a:lnSpc>
              <a:spcAft>
                <a:spcPts val="0"/>
              </a:spcAft>
            </a:pPr>
            <a:r>
              <a:rPr lang="en-US" dirty="0"/>
              <a:t>White chocolate </a:t>
            </a:r>
            <a:r>
              <a:rPr lang="en-US" dirty="0">
                <a:sym typeface="Wingdings" panose="05000000000000000000" pitchFamily="2" charset="2"/>
              </a:rPr>
              <a:t> $2</a:t>
            </a:r>
          </a:p>
          <a:p>
            <a:pPr lvl="1">
              <a:lnSpc>
                <a:spcPct val="120000"/>
              </a:lnSpc>
              <a:spcAft>
                <a:spcPts val="0"/>
              </a:spcAft>
            </a:pPr>
            <a:r>
              <a:rPr lang="en-US" dirty="0"/>
              <a:t>Milk chocolate </a:t>
            </a:r>
            <a:r>
              <a:rPr lang="en-US" dirty="0">
                <a:sym typeface="Wingdings" panose="05000000000000000000" pitchFamily="2" charset="2"/>
              </a:rPr>
              <a:t> $3</a:t>
            </a:r>
            <a:endParaRPr lang="en-US" dirty="0"/>
          </a:p>
          <a:p>
            <a:pPr marL="457200" lvl="0" indent="-457200">
              <a:lnSpc>
                <a:spcPct val="120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Each bidder estimates the costs of the RE project and notes it on a piece of paper. Cover the piece of paper.</a:t>
            </a:r>
          </a:p>
          <a:p>
            <a:pPr marL="457200" lvl="0" indent="-457200">
              <a:lnSpc>
                <a:spcPct val="120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Each bidder decides on a bid price considering its cost estimate and expected competition, and writes it on a piece of paper.  Cover the piece of paper.</a:t>
            </a:r>
          </a:p>
          <a:p>
            <a:pPr marL="457200" lvl="0" indent="-457200">
              <a:lnSpc>
                <a:spcPct val="120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Static sealed bid auction – all bidders hand in their bids at the same time.</a:t>
            </a:r>
          </a:p>
          <a:p>
            <a:pPr marL="457200" lvl="0" indent="-457200">
              <a:lnSpc>
                <a:spcPct val="120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dirty="0"/>
              <a:t>Announcement and evaluation of results.</a:t>
            </a:r>
          </a:p>
          <a:p>
            <a:pPr>
              <a:lnSpc>
                <a:spcPct val="120000"/>
              </a:lnSpc>
              <a:spcAft>
                <a:spcPts val="0"/>
              </a:spcAft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121FFFA-6135-4420-B44E-30A3511EB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 – the winner‘s curs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6A1D10-55B2-4525-A75C-D0A82433B895}"/>
              </a:ext>
            </a:extLst>
          </p:cNvPr>
          <p:cNvSpPr/>
          <p:nvPr/>
        </p:nvSpPr>
        <p:spPr>
          <a:xfrm>
            <a:off x="7391400" y="590822"/>
            <a:ext cx="1447800" cy="645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i="1" dirty="0"/>
              <a:t>Interactive Session </a:t>
            </a:r>
            <a:endParaRPr lang="en-US" sz="1600" b="1" i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0CB76A-C2A3-402B-A37A-A3487D03A121}"/>
              </a:ext>
            </a:extLst>
          </p:cNvPr>
          <p:cNvSpPr txBox="1"/>
          <p:nvPr/>
        </p:nvSpPr>
        <p:spPr>
          <a:xfrm>
            <a:off x="7869180" y="162840"/>
            <a:ext cx="1122420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Winner’s curse</a:t>
            </a:r>
          </a:p>
        </p:txBody>
      </p:sp>
    </p:spTree>
    <p:extLst>
      <p:ext uri="{BB962C8B-B14F-4D97-AF65-F5344CB8AC3E}">
        <p14:creationId xmlns:p14="http://schemas.microsoft.com/office/powerpoint/2010/main" val="16593330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9334D39-B6FD-434E-AAB9-C18F5836BF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C84BEF-9B3E-445E-AF08-D9D4197C1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049FD4F-326B-448D-B1A2-3FF8AA439FDA}"/>
              </a:ext>
            </a:extLst>
          </p:cNvPr>
          <p:cNvSpPr txBox="1"/>
          <p:nvPr/>
        </p:nvSpPr>
        <p:spPr>
          <a:xfrm>
            <a:off x="7734300" y="4744936"/>
            <a:ext cx="1104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i="1" dirty="0" err="1">
                <a:solidFill>
                  <a:schemeClr val="bg1">
                    <a:lumMod val="50000"/>
                  </a:schemeClr>
                </a:solidFill>
              </a:rPr>
              <a:t>Based</a:t>
            </a:r>
            <a:r>
              <a:rPr lang="de-DE" sz="1200" i="1" dirty="0">
                <a:solidFill>
                  <a:schemeClr val="bg1">
                    <a:lumMod val="50000"/>
                  </a:schemeClr>
                </a:solidFill>
              </a:rPr>
              <a:t> on </a:t>
            </a:r>
            <a:r>
              <a:rPr lang="de-DE" sz="1200" i="1" dirty="0" err="1">
                <a:solidFill>
                  <a:schemeClr val="bg1">
                    <a:lumMod val="50000"/>
                  </a:schemeClr>
                </a:solidFill>
              </a:rPr>
              <a:t>Takon</a:t>
            </a:r>
            <a:endParaRPr lang="en-US" sz="12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0166FFF-50F3-4609-9997-B6438D4DDB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152098"/>
            <a:ext cx="7772400" cy="3928167"/>
          </a:xfrm>
        </p:spPr>
        <p:txBody>
          <a:bodyPr>
            <a:noAutofit/>
          </a:bodyPr>
          <a:lstStyle/>
          <a:p>
            <a:r>
              <a:rPr lang="en-US" b="1"/>
              <a:t>Definition</a:t>
            </a:r>
          </a:p>
          <a:p>
            <a:pPr lvl="1"/>
            <a:r>
              <a:rPr lang="en-US"/>
              <a:t>Winning bids’ bid price is less than the actual value of the good, which will result in a loss for the auction winner</a:t>
            </a:r>
          </a:p>
          <a:p>
            <a:r>
              <a:rPr lang="en-US" b="1"/>
              <a:t>Example</a:t>
            </a:r>
          </a:p>
          <a:p>
            <a:pPr lvl="1"/>
            <a:r>
              <a:rPr lang="en-US"/>
              <a:t>Excessive yield or underestimated costs</a:t>
            </a:r>
          </a:p>
          <a:p>
            <a:r>
              <a:rPr lang="en-US" b="1"/>
              <a:t>Impact on bidders</a:t>
            </a:r>
          </a:p>
          <a:p>
            <a:pPr lvl="1"/>
            <a:r>
              <a:rPr lang="en-US"/>
              <a:t>Often a large group of bidders tend to estimate the costs relatively well</a:t>
            </a:r>
          </a:p>
          <a:p>
            <a:pPr lvl="1"/>
            <a:r>
              <a:rPr lang="en-US"/>
              <a:t>If bidders are guided by their cost estimates in their bid strategy, the bidder who underestimates costs wins the auction</a:t>
            </a:r>
          </a:p>
          <a:p>
            <a:r>
              <a:rPr lang="en-US" b="1"/>
              <a:t>Adequate bidding behavior</a:t>
            </a:r>
          </a:p>
          <a:p>
            <a:pPr lvl="1"/>
            <a:r>
              <a:rPr lang="en-US"/>
              <a:t>Upward adjustment of the cost estimation in case of having a winning bid</a:t>
            </a:r>
          </a:p>
          <a:p>
            <a:pPr lvl="1"/>
            <a:r>
              <a:rPr lang="en-US"/>
              <a:t>Adjustment of the bid where possible</a:t>
            </a:r>
            <a:endParaRPr lang="en-GB"/>
          </a:p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FB1C48F-69C6-4C90-A68A-E8D7A429C5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 to the problem of the winner‘s curs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3597170-E78B-457D-BF80-CE8939879AFE}"/>
              </a:ext>
            </a:extLst>
          </p:cNvPr>
          <p:cNvSpPr/>
          <p:nvPr/>
        </p:nvSpPr>
        <p:spPr>
          <a:xfrm>
            <a:off x="7391400" y="590822"/>
            <a:ext cx="1447800" cy="645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i="1" dirty="0"/>
              <a:t>Interactive Session </a:t>
            </a:r>
            <a:endParaRPr lang="en-US" sz="1600" b="1" i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6E0D483-08CE-47E8-8326-85B75DFC284A}"/>
              </a:ext>
            </a:extLst>
          </p:cNvPr>
          <p:cNvSpPr txBox="1"/>
          <p:nvPr/>
        </p:nvSpPr>
        <p:spPr>
          <a:xfrm>
            <a:off x="7869180" y="162840"/>
            <a:ext cx="1122420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Winner’s curse</a:t>
            </a:r>
          </a:p>
        </p:txBody>
      </p:sp>
    </p:spTree>
    <p:extLst>
      <p:ext uri="{BB962C8B-B14F-4D97-AF65-F5344CB8AC3E}">
        <p14:creationId xmlns:p14="http://schemas.microsoft.com/office/powerpoint/2010/main" val="29409027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9D9EEA-FECE-4081-9A74-9135B4616F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BB7E9E-AE5D-4712-9386-3177ECE857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8</a:t>
            </a:fld>
            <a:endParaRPr lang="en-US"/>
          </a:p>
        </p:txBody>
      </p:sp>
      <p:pic>
        <p:nvPicPr>
          <p:cNvPr id="45" name="Picture 44" descr="Auctions timeline">
            <a:extLst>
              <a:ext uri="{FF2B5EF4-FFF2-40B4-BE49-F238E27FC236}">
                <a16:creationId xmlns:a16="http://schemas.microsoft.com/office/drawing/2014/main" id="{5D84ACAB-5B52-4892-91A2-73A1B047DF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6376" y="3631008"/>
            <a:ext cx="6238874" cy="1503148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9136D1A-EDE6-4220-8D88-9D6B503360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178115"/>
            <a:ext cx="7772400" cy="2050557"/>
          </a:xfrm>
        </p:spPr>
        <p:txBody>
          <a:bodyPr>
            <a:noAutofit/>
          </a:bodyPr>
          <a:lstStyle/>
          <a:p>
            <a:r>
              <a:rPr lang="en-US" sz="1700" dirty="0"/>
              <a:t>Inherent project risk is highest at the start of a project </a:t>
            </a:r>
          </a:p>
          <a:p>
            <a:r>
              <a:rPr lang="en-US" sz="1700" dirty="0"/>
              <a:t>If the auction takes place early in the project development process, i.e. before permits affecting the business case of a project are secured, there is a risk projects are delayed or cancelled.</a:t>
            </a:r>
          </a:p>
          <a:p>
            <a:r>
              <a:rPr lang="en-US" sz="1700" dirty="0"/>
              <a:t>Feasibility studies and obtaining key permits before auction allows bidders to better estimate costs and makes projects more bankable. Feasibility studies should ideally be certified by an external agency</a:t>
            </a:r>
          </a:p>
          <a:p>
            <a:r>
              <a:rPr lang="de-DE" sz="1700" dirty="0"/>
              <a:t>Project failure risk declines with late auction.</a:t>
            </a:r>
            <a:endParaRPr lang="en-US" sz="17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1CC2B6-480D-4336-AE80-B86384975D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ecting permitting required before the auction is cruc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A2419BD-3810-418A-BAAF-4F64BB32A6D7}"/>
              </a:ext>
            </a:extLst>
          </p:cNvPr>
          <p:cNvSpPr txBox="1"/>
          <p:nvPr/>
        </p:nvSpPr>
        <p:spPr>
          <a:xfrm>
            <a:off x="7428666" y="162840"/>
            <a:ext cx="1562934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re-qualification requirements</a:t>
            </a:r>
          </a:p>
        </p:txBody>
      </p:sp>
    </p:spTree>
    <p:extLst>
      <p:ext uri="{BB962C8B-B14F-4D97-AF65-F5344CB8AC3E}">
        <p14:creationId xmlns:p14="http://schemas.microsoft.com/office/powerpoint/2010/main" val="1563412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792D8DA-5423-4865-A2CA-A7824C2D4F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6B201D-DD75-4B04-A312-60DF3E4C5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C0500B9-3EB0-4A2B-A4A0-EA6999E3C0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047263" y="3324299"/>
            <a:ext cx="4371002" cy="161982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+mn-ea"/>
              <a:cs typeface="Arial"/>
            </a:endParaRPr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45724B5B-DA44-4992-8B61-6591AE7DA3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531849" y="3115597"/>
            <a:ext cx="1695915" cy="144000"/>
          </a:xfrm>
          <a:prstGeom prst="triangle">
            <a:avLst/>
          </a:prstGeom>
          <a:solidFill>
            <a:srgbClr val="E8E8E8"/>
          </a:solidFill>
          <a:ln w="9525" cap="flat" cmpd="sng" algn="ctr">
            <a:solidFill>
              <a:srgbClr val="8B8D8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+mn-ea"/>
              <a:cs typeface="Arial"/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381F6F58-14CB-4E31-9F06-A5BE94DA80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462859" y="3115597"/>
            <a:ext cx="1695915" cy="144000"/>
          </a:xfrm>
          <a:prstGeom prst="triangle">
            <a:avLst/>
          </a:prstGeom>
          <a:solidFill>
            <a:srgbClr val="E8E8E8"/>
          </a:solidFill>
          <a:ln w="9525" cap="flat" cmpd="sng" algn="ctr">
            <a:solidFill>
              <a:srgbClr val="8B8D8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/>
              <a:ea typeface="+mn-ea"/>
              <a:cs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31AF1B9-40EC-417A-9B18-5662ECEDD1E5}"/>
              </a:ext>
            </a:extLst>
          </p:cNvPr>
          <p:cNvSpPr txBox="1"/>
          <p:nvPr/>
        </p:nvSpPr>
        <p:spPr>
          <a:xfrm>
            <a:off x="5908267" y="2946304"/>
            <a:ext cx="2895600" cy="1969770"/>
          </a:xfrm>
          <a:prstGeom prst="rect">
            <a:avLst/>
          </a:prstGeom>
          <a:noFill/>
          <a:ln>
            <a:solidFill>
              <a:srgbClr val="6C646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Financial capacity</a:t>
            </a: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: Financial statements, letter of support lender, 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35C5B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Technical capacity:</a:t>
            </a: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 independently reviewed forecast energy sales report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35C5B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Site requirements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proof of land acquisition (title deed/notarial lease/unconditional land option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941187B-46C5-4B48-A706-FDA62263081E}"/>
              </a:ext>
            </a:extLst>
          </p:cNvPr>
          <p:cNvSpPr/>
          <p:nvPr/>
        </p:nvSpPr>
        <p:spPr>
          <a:xfrm>
            <a:off x="5908267" y="2660618"/>
            <a:ext cx="2895599" cy="297949"/>
          </a:xfrm>
          <a:prstGeom prst="rect">
            <a:avLst/>
          </a:prstGeom>
          <a:solidFill>
            <a:schemeClr val="accent3"/>
          </a:solidFill>
          <a:ln>
            <a:solidFill>
              <a:srgbClr val="6C646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Bidder qualification: South Africa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BE2342B-EF98-4E21-AAC0-3F70F072A7F0}"/>
              </a:ext>
            </a:extLst>
          </p:cNvPr>
          <p:cNvSpPr txBox="1"/>
          <p:nvPr/>
        </p:nvSpPr>
        <p:spPr>
          <a:xfrm>
            <a:off x="1047263" y="4361335"/>
            <a:ext cx="43710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1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AB800"/>
              </a:buClr>
              <a:buSzPct val="110000"/>
              <a:buFont typeface="Verdana" panose="020B0604030504040204" pitchFamily="34" charset="0"/>
              <a:buChar char="-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l Sans MT"/>
                <a:ea typeface="+mn-ea"/>
                <a:cs typeface="Arial"/>
              </a:rPr>
              <a:t>Technical: Sunk costs</a:t>
            </a:r>
          </a:p>
          <a:p>
            <a:pPr marL="342900" marR="0" lvl="1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AB800"/>
              </a:buClr>
              <a:buSzPct val="110000"/>
              <a:buFont typeface="Verdana" panose="020B0604030504040204" pitchFamily="34" charset="0"/>
              <a:buChar char="-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l Sans MT"/>
                <a:ea typeface="+mn-ea"/>
                <a:cs typeface="Arial"/>
              </a:rPr>
              <a:t>All: Prohibitive barrier for (some) bidd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819E2D-B5E2-411E-BD45-A9CECB97F880}"/>
              </a:ext>
            </a:extLst>
          </p:cNvPr>
          <p:cNvSpPr txBox="1"/>
          <p:nvPr/>
        </p:nvSpPr>
        <p:spPr>
          <a:xfrm>
            <a:off x="1047263" y="3604739"/>
            <a:ext cx="4371001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3538" marR="0" lvl="1" indent="-363538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7AB800"/>
              </a:buClr>
              <a:buSzPct val="110000"/>
              <a:buFont typeface="Verdana" pitchFamily="34" charset="0"/>
              <a:buChar char="+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l Sans MT"/>
                <a:ea typeface="+mn-ea"/>
                <a:cs typeface="Arial"/>
              </a:rPr>
              <a:t>Technical: Selection of projects with sufficient progress in planning</a:t>
            </a:r>
          </a:p>
          <a:p>
            <a:pPr marL="363538" marR="0" lvl="1" indent="-363538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7AB800"/>
              </a:buClr>
              <a:buSzPct val="110000"/>
              <a:buFont typeface="Verdana" pitchFamily="34" charset="0"/>
              <a:buChar char="+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l Sans MT"/>
                <a:ea typeface="+mn-ea"/>
                <a:cs typeface="Arial"/>
              </a:rPr>
              <a:t>Financial: Bidders with intention to realiz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94E3C7B-AE87-4D72-9CF8-BC99F8C47B3C}"/>
              </a:ext>
            </a:extLst>
          </p:cNvPr>
          <p:cNvSpPr txBox="1"/>
          <p:nvPr/>
        </p:nvSpPr>
        <p:spPr>
          <a:xfrm>
            <a:off x="1047262" y="3335139"/>
            <a:ext cx="4371001" cy="343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l Sans MT"/>
                <a:ea typeface="+mn-ea"/>
                <a:cs typeface="Arial"/>
              </a:rPr>
              <a:t>Conditions for participation</a:t>
            </a:r>
          </a:p>
        </p:txBody>
      </p:sp>
      <p:pic>
        <p:nvPicPr>
          <p:cNvPr id="9" name="Picture 8" descr="Auctions timeline">
            <a:extLst>
              <a:ext uri="{FF2B5EF4-FFF2-40B4-BE49-F238E27FC236}">
                <a16:creationId xmlns:a16="http://schemas.microsoft.com/office/drawing/2014/main" id="{501CD42F-BB07-484A-8B7C-540D125EA9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475" y="1227820"/>
            <a:ext cx="8020049" cy="1932291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D325BF8-772C-4402-BD9B-1CDCD830B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ditions for participation: balance is the ke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AA8694B-DB55-471F-BC92-45C5A36E91E2}"/>
              </a:ext>
            </a:extLst>
          </p:cNvPr>
          <p:cNvSpPr txBox="1"/>
          <p:nvPr/>
        </p:nvSpPr>
        <p:spPr>
          <a:xfrm>
            <a:off x="7428666" y="162840"/>
            <a:ext cx="1562934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Pre-qualification requirements</a:t>
            </a:r>
          </a:p>
        </p:txBody>
      </p:sp>
    </p:spTree>
    <p:extLst>
      <p:ext uri="{BB962C8B-B14F-4D97-AF65-F5344CB8AC3E}">
        <p14:creationId xmlns:p14="http://schemas.microsoft.com/office/powerpoint/2010/main" val="12511350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3" grpId="0" animBg="1"/>
      <p:bldP spid="10" grpId="0"/>
      <p:bldP spid="11" grpId="0"/>
      <p:bldP spid="1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5" name="Slide Numb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Content Placeholder 5"/>
          <p:cNvSpPr txBox="1">
            <a:spLocks/>
          </p:cNvSpPr>
          <p:nvPr/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/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•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Definition and advantages of auctions</a:t>
            </a:r>
          </a:p>
          <a:p>
            <a:r>
              <a:rPr lang="en-US" dirty="0">
                <a:solidFill>
                  <a:schemeClr val="bg1"/>
                </a:solidFill>
              </a:rPr>
              <a:t>Policy goals and market &amp; regulatory analysis</a:t>
            </a:r>
          </a:p>
          <a:p>
            <a:r>
              <a:rPr lang="en-US" dirty="0">
                <a:solidFill>
                  <a:schemeClr val="bg1"/>
                </a:solidFill>
              </a:rPr>
              <a:t>Auction Design Elements – Part 1 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Site selection 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Winner’s curse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Pre-qualification requirement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164789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D93432-AEC9-4F97-9244-0CCF74CAC9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27990C-C434-460B-A278-D7F20E2B5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20</a:t>
            </a:fld>
            <a:endParaRPr lang="en-US"/>
          </a:p>
        </p:txBody>
      </p:sp>
      <p:pic>
        <p:nvPicPr>
          <p:cNvPr id="9" name="Picture 8" descr="A bar chart showing duplicated permits across agencies and/or permits which's request could be unified.">
            <a:extLst>
              <a:ext uri="{FF2B5EF4-FFF2-40B4-BE49-F238E27FC236}">
                <a16:creationId xmlns:a16="http://schemas.microsoft.com/office/drawing/2014/main" id="{3FAC2355-FB1A-486D-A3BB-C12B647112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8328" y="1250819"/>
            <a:ext cx="5995405" cy="3686894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F280D69-4B3E-4491-AC3A-759E62363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/>
              <a:t>Be careful not to overburden bidders: In Mexico,  EDF needed to interact with 13 agenci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306D667-685A-428B-AF18-30F89D2CDBE2}"/>
              </a:ext>
            </a:extLst>
          </p:cNvPr>
          <p:cNvSpPr txBox="1"/>
          <p:nvPr/>
        </p:nvSpPr>
        <p:spPr>
          <a:xfrm>
            <a:off x="7428666" y="162840"/>
            <a:ext cx="1562934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Pre-qualification requirements</a:t>
            </a:r>
          </a:p>
        </p:txBody>
      </p:sp>
    </p:spTree>
    <p:extLst>
      <p:ext uri="{BB962C8B-B14F-4D97-AF65-F5344CB8AC3E}">
        <p14:creationId xmlns:p14="http://schemas.microsoft.com/office/powerpoint/2010/main" val="41892015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 descr="Competitive procurement">
            <a:extLst>
              <a:ext uri="{FF2B5EF4-FFF2-40B4-BE49-F238E27FC236}">
                <a16:creationId xmlns:a16="http://schemas.microsoft.com/office/drawing/2014/main" id="{833CBE1C-3118-4C36-AD5A-E1EDFAFD6A7D}"/>
              </a:ext>
            </a:extLst>
          </p:cNvPr>
          <p:cNvGrpSpPr/>
          <p:nvPr/>
        </p:nvGrpSpPr>
        <p:grpSpPr>
          <a:xfrm>
            <a:off x="5877475" y="2467860"/>
            <a:ext cx="2996655" cy="2441377"/>
            <a:chOff x="5877475" y="2467860"/>
            <a:chExt cx="2996655" cy="2441377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7F641CD0-6A0C-4FE3-AD2C-299DD462B00B}"/>
                </a:ext>
              </a:extLst>
            </p:cNvPr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83169" y="2764738"/>
              <a:ext cx="2790961" cy="2144499"/>
            </a:xfrm>
            <a:prstGeom prst="rect">
              <a:avLst/>
            </a:prstGeom>
            <a:noFill/>
          </p:spPr>
        </p:pic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4CEC2819-2FD9-4D64-AF8D-98018E08C54D}"/>
                </a:ext>
              </a:extLst>
            </p:cNvPr>
            <p:cNvSpPr txBox="1"/>
            <p:nvPr/>
          </p:nvSpPr>
          <p:spPr>
            <a:xfrm>
              <a:off x="5877475" y="2467860"/>
              <a:ext cx="239217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557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mpetitive procurement</a:t>
              </a:r>
            </a:p>
          </p:txBody>
        </p:sp>
      </p:grpSp>
      <p:grpSp>
        <p:nvGrpSpPr>
          <p:cNvPr id="6" name="Group 5" descr="Negotiated procurement">
            <a:extLst>
              <a:ext uri="{FF2B5EF4-FFF2-40B4-BE49-F238E27FC236}">
                <a16:creationId xmlns:a16="http://schemas.microsoft.com/office/drawing/2014/main" id="{AC34D0C7-8D9D-403B-B021-F30506AFD423}"/>
              </a:ext>
            </a:extLst>
          </p:cNvPr>
          <p:cNvGrpSpPr/>
          <p:nvPr/>
        </p:nvGrpSpPr>
        <p:grpSpPr>
          <a:xfrm>
            <a:off x="3086658" y="2467860"/>
            <a:ext cx="2923114" cy="2441377"/>
            <a:chOff x="3086658" y="2467860"/>
            <a:chExt cx="2923114" cy="2441377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B5CA7F9A-8749-43D7-B3C5-A6BA991202A0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86658" y="2764738"/>
              <a:ext cx="2923114" cy="2144499"/>
            </a:xfrm>
            <a:prstGeom prst="rect">
              <a:avLst/>
            </a:prstGeom>
            <a:noFill/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3D0C4F9-3227-431C-AC91-3FEF5546FE07}"/>
                </a:ext>
              </a:extLst>
            </p:cNvPr>
            <p:cNvSpPr txBox="1"/>
            <p:nvPr/>
          </p:nvSpPr>
          <p:spPr>
            <a:xfrm>
              <a:off x="3292919" y="2467860"/>
              <a:ext cx="232093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557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egotiated procurement</a:t>
              </a:r>
            </a:p>
          </p:txBody>
        </p:sp>
      </p:grpSp>
      <p:grpSp>
        <p:nvGrpSpPr>
          <p:cNvPr id="4" name="Group 3" descr="Administratively-set feed-in tariffs">
            <a:extLst>
              <a:ext uri="{FF2B5EF4-FFF2-40B4-BE49-F238E27FC236}">
                <a16:creationId xmlns:a16="http://schemas.microsoft.com/office/drawing/2014/main" id="{ABE07B9E-4E2B-4645-A5C8-779148B53785}"/>
              </a:ext>
            </a:extLst>
          </p:cNvPr>
          <p:cNvGrpSpPr/>
          <p:nvPr/>
        </p:nvGrpSpPr>
        <p:grpSpPr>
          <a:xfrm>
            <a:off x="90884" y="2467860"/>
            <a:ext cx="2922376" cy="2440405"/>
            <a:chOff x="90884" y="2467860"/>
            <a:chExt cx="2922376" cy="2440405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9222ECA3-A1A0-4907-9A15-9F1E9AD19073}"/>
                </a:ext>
              </a:extLst>
            </p:cNvPr>
            <p:cNvPicPr/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884" y="2764739"/>
              <a:ext cx="2922376" cy="2143526"/>
            </a:xfrm>
            <a:prstGeom prst="rect">
              <a:avLst/>
            </a:prstGeom>
            <a:noFill/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6AFCDE1B-F488-48C4-80B9-B0D39FB6ED11}"/>
                </a:ext>
              </a:extLst>
            </p:cNvPr>
            <p:cNvSpPr txBox="1"/>
            <p:nvPr/>
          </p:nvSpPr>
          <p:spPr>
            <a:xfrm>
              <a:off x="522242" y="2467860"/>
              <a:ext cx="232093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557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dmin. Feed-in tariff</a:t>
              </a:r>
            </a:p>
          </p:txBody>
        </p:sp>
      </p:grpSp>
      <p:sp>
        <p:nvSpPr>
          <p:cNvPr id="37" name="Arrow: Right 36">
            <a:extLst>
              <a:ext uri="{FF2B5EF4-FFF2-40B4-BE49-F238E27FC236}">
                <a16:creationId xmlns:a16="http://schemas.microsoft.com/office/drawing/2014/main" id="{9F2EE4B0-7C5A-4690-B1AA-F3A2E47098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909649" y="2036979"/>
            <a:ext cx="5150841" cy="507081"/>
          </a:xfrm>
          <a:prstGeom prst="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B669EA4-145C-4E30-BC42-5D8FC472B97B}"/>
              </a:ext>
            </a:extLst>
          </p:cNvPr>
          <p:cNvSpPr txBox="1"/>
          <p:nvPr/>
        </p:nvSpPr>
        <p:spPr>
          <a:xfrm>
            <a:off x="3414345" y="2145169"/>
            <a:ext cx="26981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ket-based tariff setting</a:t>
            </a:r>
          </a:p>
        </p:txBody>
      </p:sp>
      <p:sp>
        <p:nvSpPr>
          <p:cNvPr id="29" name="Content Placeholder 1">
            <a:extLst>
              <a:ext uri="{FF2B5EF4-FFF2-40B4-BE49-F238E27FC236}">
                <a16:creationId xmlns:a16="http://schemas.microsoft.com/office/drawing/2014/main" id="{DFB1950A-F532-458D-B2AE-A9BAF73C40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065" y="1286501"/>
            <a:ext cx="7772400" cy="1143000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dirty="0"/>
              <a:t>All serve and require different levels of renewable energy market maturity</a:t>
            </a:r>
          </a:p>
          <a:p>
            <a:pPr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dirty="0"/>
              <a:t>All result in different reflection of market knowledg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0501BC9-D7FC-4DBF-B046-57E96C3770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3 ways to determine RE tariffs: competitive procurement, negotiated procurement, administrative feed-in tariff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9FA4B34-9BE1-4F94-970E-49D65BC8D4D8}"/>
              </a:ext>
            </a:extLst>
          </p:cNvPr>
          <p:cNvSpPr txBox="1"/>
          <p:nvPr/>
        </p:nvSpPr>
        <p:spPr>
          <a:xfrm>
            <a:off x="7233994" y="147469"/>
            <a:ext cx="175724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Definition and advantages of auctions</a:t>
            </a:r>
          </a:p>
        </p:txBody>
      </p:sp>
    </p:spTree>
    <p:extLst>
      <p:ext uri="{BB962C8B-B14F-4D97-AF65-F5344CB8AC3E}">
        <p14:creationId xmlns:p14="http://schemas.microsoft.com/office/powerpoint/2010/main" val="10730661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0FF20B7-BFAF-4DA2-85F4-A7714F02BA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pic>
        <p:nvPicPr>
          <p:cNvPr id="11" name="Picture 10" descr="Admin. feed-in tariffs provide high certainty for producers, but little volume control and price competition">
            <a:extLst>
              <a:ext uri="{FF2B5EF4-FFF2-40B4-BE49-F238E27FC236}">
                <a16:creationId xmlns:a16="http://schemas.microsoft.com/office/drawing/2014/main" id="{BD3CA96B-D525-4018-B6B6-60AD59F946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6104" y="1722028"/>
            <a:ext cx="3634585" cy="223592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410798F-CD51-4324-A7D4-B84C8B1C593E}"/>
              </a:ext>
            </a:extLst>
          </p:cNvPr>
          <p:cNvSpPr txBox="1"/>
          <p:nvPr/>
        </p:nvSpPr>
        <p:spPr>
          <a:xfrm>
            <a:off x="4963267" y="1511012"/>
            <a:ext cx="3196492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en-US" dirty="0">
                <a:solidFill>
                  <a:srgbClr val="00B050"/>
                </a:solidFill>
                <a:latin typeface="Gill Sans MT" panose="020B0502020104020203" pitchFamily="34" charset="0"/>
              </a:rPr>
              <a:t>Advantages</a:t>
            </a:r>
            <a:endParaRPr lang="en-US" sz="2000" dirty="0">
              <a:latin typeface="Arial" panose="020B0604020202020204" pitchFamily="34" charset="0"/>
            </a:endParaRP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  <a:latin typeface="Gill Sans MT" panose="020B0502020104020203" pitchFamily="34" charset="0"/>
              </a:rPr>
              <a:t>Does not require intense competition.</a:t>
            </a:r>
            <a:endParaRPr lang="en-US" sz="2000" dirty="0">
              <a:latin typeface="Arial" panose="020B0604020202020204" pitchFamily="34" charset="0"/>
            </a:endParaRP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  <a:latin typeface="Gill Sans MT" panose="020B0502020104020203" pitchFamily="34" charset="0"/>
              </a:rPr>
              <a:t>Low risk for RE producers.</a:t>
            </a:r>
          </a:p>
          <a:p>
            <a:pPr marL="283464" indent="-283464" fontAlgn="t"/>
            <a:endParaRPr lang="en-US" sz="2000" dirty="0">
              <a:latin typeface="Arial" panose="020B0604020202020204" pitchFamily="34" charset="0"/>
            </a:endParaRPr>
          </a:p>
          <a:p>
            <a:pPr fontAlgn="t"/>
            <a:r>
              <a:rPr lang="en-US" dirty="0">
                <a:solidFill>
                  <a:srgbClr val="C00000"/>
                </a:solidFill>
                <a:latin typeface="Gill Sans MT" panose="020B0502020104020203" pitchFamily="34" charset="0"/>
              </a:rPr>
              <a:t>Disadvantages</a:t>
            </a:r>
            <a:endParaRPr lang="en-US" sz="2000" dirty="0">
              <a:latin typeface="Arial" panose="020B0604020202020204" pitchFamily="34" charset="0"/>
            </a:endParaRP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  <a:latin typeface="Gill Sans MT" panose="020B0502020104020203" pitchFamily="34" charset="0"/>
              </a:rPr>
              <a:t>Low volume control unless FIT has budget/capacity cap.</a:t>
            </a:r>
            <a:endParaRPr lang="en-US" sz="2000" dirty="0">
              <a:latin typeface="Arial" panose="020B0604020202020204" pitchFamily="34" charset="0"/>
            </a:endParaRP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  <a:latin typeface="Gill Sans MT" panose="020B0502020104020203" pitchFamily="34" charset="0"/>
              </a:rPr>
              <a:t>Slow in reacting to market price changes.</a:t>
            </a:r>
            <a:endParaRPr lang="en-US" sz="2000" dirty="0">
              <a:latin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D0D4666-A7C1-4F2B-91B2-4E4C543E4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Admin. feed-in tariffs provide high certainty for producers, but little volume control and price competi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CA5383-4559-4B70-BFD5-0B0BFD38A23E}"/>
              </a:ext>
            </a:extLst>
          </p:cNvPr>
          <p:cNvSpPr txBox="1"/>
          <p:nvPr/>
        </p:nvSpPr>
        <p:spPr>
          <a:xfrm>
            <a:off x="7233994" y="154306"/>
            <a:ext cx="175724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Definition and advantages of auctions</a:t>
            </a:r>
          </a:p>
        </p:txBody>
      </p:sp>
    </p:spTree>
    <p:extLst>
      <p:ext uri="{BB962C8B-B14F-4D97-AF65-F5344CB8AC3E}">
        <p14:creationId xmlns:p14="http://schemas.microsoft.com/office/powerpoint/2010/main" val="1502464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BE5E8A5-3338-4460-A323-0DACF316A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3422B9-D2B5-4442-857C-05EFBED6E8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10" name="Picture 9" descr="Negotiated procurement provides flexibility, but less scalable and transparent">
            <a:extLst>
              <a:ext uri="{FF2B5EF4-FFF2-40B4-BE49-F238E27FC236}">
                <a16:creationId xmlns:a16="http://schemas.microsoft.com/office/drawing/2014/main" id="{9B9D08C0-45F3-4C9E-8619-A573DB95A8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750" y="1544603"/>
            <a:ext cx="3934958" cy="267461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918FFF0-FC29-41BA-BF23-217B8523EEA8}"/>
              </a:ext>
            </a:extLst>
          </p:cNvPr>
          <p:cNvSpPr txBox="1"/>
          <p:nvPr/>
        </p:nvSpPr>
        <p:spPr>
          <a:xfrm>
            <a:off x="4247261" y="1544603"/>
            <a:ext cx="4564585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en-US" dirty="0">
                <a:solidFill>
                  <a:srgbClr val="00B050"/>
                </a:solidFill>
                <a:latin typeface="Gill Sans MT" panose="020B0502020104020203" pitchFamily="34" charset="0"/>
              </a:rPr>
              <a:t>Advantages</a:t>
            </a:r>
            <a:endParaRPr lang="en-US" sz="2000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Volume control and flexibility to tailor project to ne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Some competition in pricing but lower than in auction.</a:t>
            </a:r>
          </a:p>
          <a:p>
            <a:pPr marL="283464" indent="-283464" fontAlgn="t"/>
            <a:endParaRPr lang="en-US" sz="2000" dirty="0">
              <a:latin typeface="Arial" panose="020B0604020202020204" pitchFamily="34" charset="0"/>
            </a:endParaRPr>
          </a:p>
          <a:p>
            <a:pPr fontAlgn="t"/>
            <a:r>
              <a:rPr lang="en-US" dirty="0">
                <a:solidFill>
                  <a:srgbClr val="C00000"/>
                </a:solidFill>
                <a:latin typeface="Gill Sans MT" panose="020B0502020104020203" pitchFamily="34" charset="0"/>
              </a:rPr>
              <a:t>Disadvantages</a:t>
            </a:r>
            <a:endParaRPr lang="en-US" sz="2000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Risk of protracted negotiations </a:t>
            </a:r>
            <a:r>
              <a:rPr lang="en-US" dirty="0">
                <a:solidFill>
                  <a:srgbClr val="635C5B"/>
                </a:solidFill>
                <a:sym typeface="Wingdings" panose="05000000000000000000" pitchFamily="2" charset="2"/>
              </a:rPr>
              <a:t> prices no longer reflective of market condition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Limited transparency in selection process.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635C5B"/>
                </a:solidFill>
              </a:rPr>
              <a:t>Difficult to scale if many bidders prese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172DFB7-3F80-4525-96F7-C818508858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Negotiated procurement provides flexibility, but less scalable and transpar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F570FC1-BD37-40A7-BDA9-12EBD4C15471}"/>
              </a:ext>
            </a:extLst>
          </p:cNvPr>
          <p:cNvSpPr txBox="1"/>
          <p:nvPr/>
        </p:nvSpPr>
        <p:spPr>
          <a:xfrm>
            <a:off x="7233994" y="154306"/>
            <a:ext cx="175724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Definition and advantages of auctions</a:t>
            </a:r>
          </a:p>
        </p:txBody>
      </p:sp>
    </p:spTree>
    <p:extLst>
      <p:ext uri="{BB962C8B-B14F-4D97-AF65-F5344CB8AC3E}">
        <p14:creationId xmlns:p14="http://schemas.microsoft.com/office/powerpoint/2010/main" val="15929503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50841A1-ACB4-4557-AE13-59EDB0C64C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80486E-52FD-43F5-8FE7-58FDAED651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11" name="Picture 10" descr="Competitive procurement provides strong volume control, price pressure and scalability, but needs competition">
            <a:extLst>
              <a:ext uri="{FF2B5EF4-FFF2-40B4-BE49-F238E27FC236}">
                <a16:creationId xmlns:a16="http://schemas.microsoft.com/office/drawing/2014/main" id="{AA36F730-0818-40FF-8FB4-681A6ACA8F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6937" y="1520415"/>
            <a:ext cx="3829061" cy="247312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BF9649A-60C4-40EE-9D45-BE1D787890CB}"/>
              </a:ext>
            </a:extLst>
          </p:cNvPr>
          <p:cNvSpPr txBox="1"/>
          <p:nvPr/>
        </p:nvSpPr>
        <p:spPr>
          <a:xfrm>
            <a:off x="4265998" y="1213617"/>
            <a:ext cx="4564585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en-US" dirty="0">
                <a:solidFill>
                  <a:srgbClr val="00B050"/>
                </a:solidFill>
                <a:latin typeface="Gill Sans MT" panose="020B0502020104020203" pitchFamily="34" charset="0"/>
              </a:rPr>
              <a:t>Advantages</a:t>
            </a:r>
            <a:endParaRPr lang="en-US" sz="2000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Volume contro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Competitive pric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Faster project execution after award than in negotiated procure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Easier to scale up for multiple projects and rounds.</a:t>
            </a:r>
          </a:p>
          <a:p>
            <a:pPr marL="283464" indent="-283464" fontAlgn="t"/>
            <a:endParaRPr lang="en-US" sz="2000" dirty="0">
              <a:latin typeface="Arial" panose="020B0604020202020204" pitchFamily="34" charset="0"/>
            </a:endParaRPr>
          </a:p>
          <a:p>
            <a:pPr fontAlgn="t"/>
            <a:r>
              <a:rPr lang="en-US" dirty="0">
                <a:solidFill>
                  <a:srgbClr val="C00000"/>
                </a:solidFill>
                <a:latin typeface="Gill Sans MT" panose="020B0502020104020203" pitchFamily="34" charset="0"/>
              </a:rPr>
              <a:t>Disadvantages</a:t>
            </a:r>
            <a:endParaRPr lang="en-US" sz="2000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Requires competitio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Bidders face risk of not being awarded (sunk cost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Risk of underbidding and project failure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67661B1-7D7F-449C-B2FA-AE58F81E5C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Competitive procurement provides strong volume control, price pressure and scalability, but needs competi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B1EA0B4-8D90-4755-8286-2D17381BCBBD}"/>
              </a:ext>
            </a:extLst>
          </p:cNvPr>
          <p:cNvSpPr txBox="1"/>
          <p:nvPr/>
        </p:nvSpPr>
        <p:spPr>
          <a:xfrm>
            <a:off x="7233994" y="154306"/>
            <a:ext cx="175724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Definition and advantages of auctions</a:t>
            </a:r>
          </a:p>
        </p:txBody>
      </p:sp>
    </p:spTree>
    <p:extLst>
      <p:ext uri="{BB962C8B-B14F-4D97-AF65-F5344CB8AC3E}">
        <p14:creationId xmlns:p14="http://schemas.microsoft.com/office/powerpoint/2010/main" val="3689628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ED9BF3D-16E0-46EF-ABE4-87B8A5EF1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BAEFEF-FD67-447B-B9FE-84E1080641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7</a:t>
            </a:fld>
            <a:endParaRPr lang="en-US"/>
          </a:p>
        </p:txBody>
      </p:sp>
      <p:grpSp>
        <p:nvGrpSpPr>
          <p:cNvPr id="3" name="Group 2" descr="Administratively-set feed-in tariff">
            <a:extLst>
              <a:ext uri="{FF2B5EF4-FFF2-40B4-BE49-F238E27FC236}">
                <a16:creationId xmlns:a16="http://schemas.microsoft.com/office/drawing/2014/main" id="{47EA08FD-F87D-4D36-AD2C-558A520BD40B}"/>
              </a:ext>
            </a:extLst>
          </p:cNvPr>
          <p:cNvGrpSpPr/>
          <p:nvPr/>
        </p:nvGrpSpPr>
        <p:grpSpPr>
          <a:xfrm>
            <a:off x="5174628" y="1680239"/>
            <a:ext cx="3304019" cy="2554439"/>
            <a:chOff x="6136966" y="1093900"/>
            <a:chExt cx="3304019" cy="2554439"/>
          </a:xfrm>
        </p:grpSpPr>
        <p:pic>
          <p:nvPicPr>
            <p:cNvPr id="11" name="Picture 10" descr="Administratively-set feed-in tariffs">
              <a:extLst>
                <a:ext uri="{FF2B5EF4-FFF2-40B4-BE49-F238E27FC236}">
                  <a16:creationId xmlns:a16="http://schemas.microsoft.com/office/drawing/2014/main" id="{C5A6D306-3231-4A5D-ADD2-A9B6CE92FDAD}"/>
                </a:ext>
              </a:extLst>
            </p:cNvPr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8393" y="1360641"/>
              <a:ext cx="3262592" cy="2287698"/>
            </a:xfrm>
            <a:prstGeom prst="rect">
              <a:avLst/>
            </a:prstGeom>
            <a:noFill/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C1D0491-0202-4263-A222-A34EC3675447}"/>
                </a:ext>
              </a:extLst>
            </p:cNvPr>
            <p:cNvSpPr txBox="1"/>
            <p:nvPr/>
          </p:nvSpPr>
          <p:spPr>
            <a:xfrm>
              <a:off x="6136966" y="1093900"/>
              <a:ext cx="232093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557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dmin. feed-in tariff</a:t>
              </a:r>
            </a:p>
          </p:txBody>
        </p:sp>
      </p:grp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6E4F7888-776B-4631-80A9-939F27FDB4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2301" y="1481904"/>
            <a:ext cx="4183053" cy="1147768"/>
          </a:xfrm>
        </p:spPr>
        <p:txBody>
          <a:bodyPr>
            <a:noAutofit/>
          </a:bodyPr>
          <a:lstStyle/>
          <a:p>
            <a:pPr marL="0" indent="0">
              <a:spcAft>
                <a:spcPts val="0"/>
              </a:spcAft>
              <a:buNone/>
            </a:pPr>
            <a:r>
              <a:rPr lang="en-US" dirty="0"/>
              <a:t>No. </a:t>
            </a:r>
          </a:p>
          <a:p>
            <a:pPr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dirty="0"/>
              <a:t>Less mature technologies or small-scale generators with difficulties managing risk/transaction costs from participating in an auction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6CD76DF-3771-40F2-8259-ADE76298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639392"/>
            <a:ext cx="7772400" cy="430887"/>
          </a:xfrm>
        </p:spPr>
        <p:txBody>
          <a:bodyPr/>
          <a:lstStyle/>
          <a:p>
            <a:r>
              <a:rPr lang="en-US" sz="2200" dirty="0"/>
              <a:t>… is competitive procurement always the best fit?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8E9E8A8-7657-478D-8DF1-E35CF36FF028}"/>
              </a:ext>
            </a:extLst>
          </p:cNvPr>
          <p:cNvSpPr txBox="1"/>
          <p:nvPr/>
        </p:nvSpPr>
        <p:spPr>
          <a:xfrm>
            <a:off x="7233994" y="154306"/>
            <a:ext cx="175724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Definition and advantages of auctions</a:t>
            </a:r>
          </a:p>
        </p:txBody>
      </p:sp>
    </p:spTree>
    <p:extLst>
      <p:ext uri="{BB962C8B-B14F-4D97-AF65-F5344CB8AC3E}">
        <p14:creationId xmlns:p14="http://schemas.microsoft.com/office/powerpoint/2010/main" val="13055293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ED9BF3D-16E0-46EF-ABE4-87B8A5EF1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BAEFEF-FD67-447B-B9FE-84E1080641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8</a:t>
            </a:fld>
            <a:endParaRPr lang="en-US"/>
          </a:p>
        </p:txBody>
      </p:sp>
      <p:grpSp>
        <p:nvGrpSpPr>
          <p:cNvPr id="6" name="Group 5" descr="Competitive procurement">
            <a:extLst>
              <a:ext uri="{FF2B5EF4-FFF2-40B4-BE49-F238E27FC236}">
                <a16:creationId xmlns:a16="http://schemas.microsoft.com/office/drawing/2014/main" id="{8398FFEA-6339-47DA-9C03-9DC009B4A976}"/>
              </a:ext>
            </a:extLst>
          </p:cNvPr>
          <p:cNvGrpSpPr/>
          <p:nvPr/>
        </p:nvGrpSpPr>
        <p:grpSpPr>
          <a:xfrm>
            <a:off x="4979621" y="1579546"/>
            <a:ext cx="3545524" cy="2467769"/>
            <a:chOff x="5877888" y="3235040"/>
            <a:chExt cx="2580008" cy="1795747"/>
          </a:xfrm>
        </p:grpSpPr>
        <p:pic>
          <p:nvPicPr>
            <p:cNvPr id="15" name="Picture 14" descr="Competitive procurement">
              <a:extLst>
                <a:ext uri="{FF2B5EF4-FFF2-40B4-BE49-F238E27FC236}">
                  <a16:creationId xmlns:a16="http://schemas.microsoft.com/office/drawing/2014/main" id="{DACE2FCA-BF3B-406E-BC84-7CA997E6FB35}"/>
                </a:ext>
              </a:extLst>
            </p:cNvPr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7888" y="3542817"/>
              <a:ext cx="2580008" cy="1487970"/>
            </a:xfrm>
            <a:prstGeom prst="rect">
              <a:avLst/>
            </a:prstGeom>
            <a:noFill/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271462E-0FB2-48EE-B7B6-D64B9226010D}"/>
                </a:ext>
              </a:extLst>
            </p:cNvPr>
            <p:cNvSpPr txBox="1"/>
            <p:nvPr/>
          </p:nvSpPr>
          <p:spPr>
            <a:xfrm>
              <a:off x="6065717" y="3235040"/>
              <a:ext cx="239217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557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mpetitive procurement</a:t>
              </a:r>
            </a:p>
          </p:txBody>
        </p:sp>
      </p:grp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40E5F833-5889-47E6-8BEA-F99EA16240D7}"/>
              </a:ext>
            </a:extLst>
          </p:cNvPr>
          <p:cNvSpPr txBox="1">
            <a:spLocks/>
          </p:cNvSpPr>
          <p:nvPr/>
        </p:nvSpPr>
        <p:spPr>
          <a:xfrm>
            <a:off x="607950" y="1650970"/>
            <a:ext cx="4371671" cy="9953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/>
              <a:buNone/>
            </a:pPr>
            <a:r>
              <a:rPr lang="en-US" sz="1600" dirty="0"/>
              <a:t>Yes.</a:t>
            </a:r>
          </a:p>
          <a:p>
            <a:pPr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600" dirty="0"/>
              <a:t>Formal participation and award criteria reduces the room for discretionary judgment calls in the process. </a:t>
            </a:r>
          </a:p>
          <a:p>
            <a:pPr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600" dirty="0"/>
              <a:t>Challenges to process of negotiated procurement often </a:t>
            </a:r>
            <a:r>
              <a:rPr lang="en-US" sz="1600" dirty="0">
                <a:sym typeface="Wingdings" panose="05000000000000000000" pitchFamily="2" charset="2"/>
              </a:rPr>
              <a:t>cause delays</a:t>
            </a:r>
            <a:endParaRPr lang="en-US" sz="1600" dirty="0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F297636D-78BD-44C8-A1F7-5ADA64C238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2745" y="713803"/>
            <a:ext cx="7772400" cy="830997"/>
          </a:xfrm>
        </p:spPr>
        <p:txBody>
          <a:bodyPr/>
          <a:lstStyle/>
          <a:p>
            <a:r>
              <a:rPr lang="en-US" dirty="0"/>
              <a:t>… can competitive procurement be implemented in small RE markets?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8E9E8A8-7657-478D-8DF1-E35CF36FF028}"/>
              </a:ext>
            </a:extLst>
          </p:cNvPr>
          <p:cNvSpPr txBox="1"/>
          <p:nvPr/>
        </p:nvSpPr>
        <p:spPr>
          <a:xfrm>
            <a:off x="7233994" y="154306"/>
            <a:ext cx="175724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Definition and advantages of auctions</a:t>
            </a:r>
          </a:p>
        </p:txBody>
      </p:sp>
    </p:spTree>
    <p:extLst>
      <p:ext uri="{BB962C8B-B14F-4D97-AF65-F5344CB8AC3E}">
        <p14:creationId xmlns:p14="http://schemas.microsoft.com/office/powerpoint/2010/main" val="30875824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AFC22DC-51CB-468E-B317-DBC4A01A03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62695" y="4844639"/>
            <a:ext cx="2133600" cy="186148"/>
          </a:xfrm>
        </p:spPr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3F4D4E-364E-426B-9E1A-3765E15991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868295" y="4844639"/>
            <a:ext cx="2133600" cy="186148"/>
          </a:xfrm>
        </p:spPr>
        <p:txBody>
          <a:bodyPr/>
          <a:lstStyle/>
          <a:p>
            <a:fld id="{42782948-4DBE-204D-AB9E-B65E067054AE}" type="slidenum">
              <a:rPr lang="en-US" smtClean="0"/>
              <a:pPr/>
              <a:t>9</a:t>
            </a:fld>
            <a:endParaRPr lang="en-US"/>
          </a:p>
        </p:txBody>
      </p:sp>
      <p:grpSp>
        <p:nvGrpSpPr>
          <p:cNvPr id="3" name="Group 2" descr="Defining targets and understanding the market &amp; regulatory analysis are essential input for design">
            <a:extLst>
              <a:ext uri="{FF2B5EF4-FFF2-40B4-BE49-F238E27FC236}">
                <a16:creationId xmlns:a16="http://schemas.microsoft.com/office/drawing/2014/main" id="{FC4472C5-3041-4A17-A7C9-72BF796B98BB}"/>
              </a:ext>
            </a:extLst>
          </p:cNvPr>
          <p:cNvGrpSpPr/>
          <p:nvPr/>
        </p:nvGrpSpPr>
        <p:grpSpPr>
          <a:xfrm>
            <a:off x="606703" y="1672673"/>
            <a:ext cx="8035197" cy="3221986"/>
            <a:chOff x="606703" y="1672673"/>
            <a:chExt cx="8035197" cy="3221986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EB38710-0AC9-4736-A6BC-4F9A26CD7398}"/>
                </a:ext>
              </a:extLst>
            </p:cNvPr>
            <p:cNvGrpSpPr/>
            <p:nvPr/>
          </p:nvGrpSpPr>
          <p:grpSpPr>
            <a:xfrm>
              <a:off x="606703" y="1672673"/>
              <a:ext cx="8035197" cy="850900"/>
              <a:chOff x="183698" y="2242060"/>
              <a:chExt cx="8035197" cy="850900"/>
            </a:xfrm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C50FCB22-BED7-42AE-8083-73D074B2F6EE}"/>
                  </a:ext>
                </a:extLst>
              </p:cNvPr>
              <p:cNvSpPr/>
              <p:nvPr/>
            </p:nvSpPr>
            <p:spPr>
              <a:xfrm>
                <a:off x="183698" y="2242060"/>
                <a:ext cx="1768694" cy="850900"/>
              </a:xfrm>
              <a:custGeom>
                <a:avLst/>
                <a:gdLst>
                  <a:gd name="connsiteX0" fmla="*/ 0 w 1704050"/>
                  <a:gd name="connsiteY0" fmla="*/ 0 h 496296"/>
                  <a:gd name="connsiteX1" fmla="*/ 1455902 w 1704050"/>
                  <a:gd name="connsiteY1" fmla="*/ 0 h 496296"/>
                  <a:gd name="connsiteX2" fmla="*/ 1704050 w 1704050"/>
                  <a:gd name="connsiteY2" fmla="*/ 248148 h 496296"/>
                  <a:gd name="connsiteX3" fmla="*/ 1455902 w 1704050"/>
                  <a:gd name="connsiteY3" fmla="*/ 496296 h 496296"/>
                  <a:gd name="connsiteX4" fmla="*/ 0 w 1704050"/>
                  <a:gd name="connsiteY4" fmla="*/ 496296 h 496296"/>
                  <a:gd name="connsiteX5" fmla="*/ 248148 w 1704050"/>
                  <a:gd name="connsiteY5" fmla="*/ 248148 h 496296"/>
                  <a:gd name="connsiteX6" fmla="*/ 0 w 1704050"/>
                  <a:gd name="connsiteY6" fmla="*/ 0 h 496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04050" h="496296">
                    <a:moveTo>
                      <a:pt x="0" y="0"/>
                    </a:moveTo>
                    <a:lnTo>
                      <a:pt x="1455902" y="0"/>
                    </a:lnTo>
                    <a:lnTo>
                      <a:pt x="1704050" y="248148"/>
                    </a:lnTo>
                    <a:lnTo>
                      <a:pt x="1455902" y="496296"/>
                    </a:lnTo>
                    <a:lnTo>
                      <a:pt x="0" y="496296"/>
                    </a:lnTo>
                    <a:lnTo>
                      <a:pt x="248148" y="2481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2F6C"/>
              </a:solidFill>
              <a:ln w="254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</a:ln>
              <a:effectLst/>
            </p:spPr>
            <p:txBody>
              <a:bodyPr spcFirstLastPara="0" vert="horz" wrap="square" lIns="320157" tIns="24003" rIns="272151" bIns="24003" numCol="1" spcCol="1270" anchor="ctr" anchorCtr="0">
                <a:noAutofit/>
              </a:bodyPr>
              <a:lstStyle/>
              <a:p>
                <a:pPr marL="0" marR="0" lvl="0" indent="0" algn="ctr" defTabSz="8001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ill Sans MT"/>
                    <a:ea typeface="+mn-ea"/>
                    <a:cs typeface="+mn-cs"/>
                  </a:rPr>
                  <a:t>Target definition</a:t>
                </a: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3B8F2666-13D3-4EAA-A5C7-468B9992FB02}"/>
                  </a:ext>
                </a:extLst>
              </p:cNvPr>
              <p:cNvSpPr/>
              <p:nvPr/>
            </p:nvSpPr>
            <p:spPr>
              <a:xfrm>
                <a:off x="1762714" y="2242060"/>
                <a:ext cx="1768694" cy="850900"/>
              </a:xfrm>
              <a:custGeom>
                <a:avLst/>
                <a:gdLst>
                  <a:gd name="connsiteX0" fmla="*/ 0 w 1420929"/>
                  <a:gd name="connsiteY0" fmla="*/ 0 h 496296"/>
                  <a:gd name="connsiteX1" fmla="*/ 1172781 w 1420929"/>
                  <a:gd name="connsiteY1" fmla="*/ 0 h 496296"/>
                  <a:gd name="connsiteX2" fmla="*/ 1420929 w 1420929"/>
                  <a:gd name="connsiteY2" fmla="*/ 248148 h 496296"/>
                  <a:gd name="connsiteX3" fmla="*/ 1172781 w 1420929"/>
                  <a:gd name="connsiteY3" fmla="*/ 496296 h 496296"/>
                  <a:gd name="connsiteX4" fmla="*/ 0 w 1420929"/>
                  <a:gd name="connsiteY4" fmla="*/ 496296 h 496296"/>
                  <a:gd name="connsiteX5" fmla="*/ 248148 w 1420929"/>
                  <a:gd name="connsiteY5" fmla="*/ 248148 h 496296"/>
                  <a:gd name="connsiteX6" fmla="*/ 0 w 1420929"/>
                  <a:gd name="connsiteY6" fmla="*/ 0 h 496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20929" h="496296">
                    <a:moveTo>
                      <a:pt x="0" y="0"/>
                    </a:moveTo>
                    <a:lnTo>
                      <a:pt x="1172781" y="0"/>
                    </a:lnTo>
                    <a:lnTo>
                      <a:pt x="1420929" y="248148"/>
                    </a:lnTo>
                    <a:lnTo>
                      <a:pt x="1172781" y="496296"/>
                    </a:lnTo>
                    <a:lnTo>
                      <a:pt x="0" y="496296"/>
                    </a:lnTo>
                    <a:lnTo>
                      <a:pt x="248148" y="2481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2F6C"/>
              </a:solidFill>
              <a:ln w="254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</a:ln>
              <a:effectLst/>
            </p:spPr>
            <p:txBody>
              <a:bodyPr spcFirstLastPara="0" vert="horz" wrap="square" lIns="320157" tIns="24003" rIns="272151" bIns="24003" numCol="1" spcCol="1270" anchor="ctr" anchorCtr="0">
                <a:noAutofit/>
              </a:bodyPr>
              <a:lstStyle/>
              <a:p>
                <a:pPr marL="0" marR="0" lvl="0" indent="0" algn="ctr" defTabSz="8001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ill Sans MT"/>
                    <a:ea typeface="+mn-ea"/>
                    <a:cs typeface="+mn-cs"/>
                  </a:rPr>
                  <a:t>Market </a:t>
                </a:r>
                <a:r>
                  <a:rPr kumimoji="0" lang="de-DE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ill Sans MT"/>
                    <a:ea typeface="+mn-ea"/>
                    <a:cs typeface="+mn-cs"/>
                  </a:rPr>
                  <a:t>&amp;</a:t>
                </a: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ill Sans MT"/>
                    <a:ea typeface="+mn-ea"/>
                    <a:cs typeface="+mn-cs"/>
                  </a:rPr>
                  <a:t> regulatory analysis</a:t>
                </a: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1A616AC5-520E-4CCB-8675-5025C3C12023}"/>
                  </a:ext>
                </a:extLst>
              </p:cNvPr>
              <p:cNvSpPr/>
              <p:nvPr/>
            </p:nvSpPr>
            <p:spPr>
              <a:xfrm>
                <a:off x="3295991" y="2242060"/>
                <a:ext cx="1768694" cy="850900"/>
              </a:xfrm>
              <a:custGeom>
                <a:avLst/>
                <a:gdLst>
                  <a:gd name="connsiteX0" fmla="*/ 0 w 1362074"/>
                  <a:gd name="connsiteY0" fmla="*/ 0 h 496296"/>
                  <a:gd name="connsiteX1" fmla="*/ 1113926 w 1362074"/>
                  <a:gd name="connsiteY1" fmla="*/ 0 h 496296"/>
                  <a:gd name="connsiteX2" fmla="*/ 1362074 w 1362074"/>
                  <a:gd name="connsiteY2" fmla="*/ 248148 h 496296"/>
                  <a:gd name="connsiteX3" fmla="*/ 1113926 w 1362074"/>
                  <a:gd name="connsiteY3" fmla="*/ 496296 h 496296"/>
                  <a:gd name="connsiteX4" fmla="*/ 0 w 1362074"/>
                  <a:gd name="connsiteY4" fmla="*/ 496296 h 496296"/>
                  <a:gd name="connsiteX5" fmla="*/ 248148 w 1362074"/>
                  <a:gd name="connsiteY5" fmla="*/ 248148 h 496296"/>
                  <a:gd name="connsiteX6" fmla="*/ 0 w 1362074"/>
                  <a:gd name="connsiteY6" fmla="*/ 0 h 496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2074" h="496296">
                    <a:moveTo>
                      <a:pt x="0" y="0"/>
                    </a:moveTo>
                    <a:lnTo>
                      <a:pt x="1113926" y="0"/>
                    </a:lnTo>
                    <a:lnTo>
                      <a:pt x="1362074" y="248148"/>
                    </a:lnTo>
                    <a:lnTo>
                      <a:pt x="1113926" y="496296"/>
                    </a:lnTo>
                    <a:lnTo>
                      <a:pt x="0" y="496296"/>
                    </a:lnTo>
                    <a:lnTo>
                      <a:pt x="248148" y="2481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  <a:alpha val="40000"/>
                </a:schemeClr>
              </a:solidFill>
              <a:ln w="254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</a:ln>
              <a:effectLst/>
            </p:spPr>
            <p:txBody>
              <a:bodyPr spcFirstLastPara="0" vert="horz" wrap="square" lIns="320157" tIns="24003" rIns="272151" bIns="24003" numCol="1" spcCol="1270" anchor="ctr" anchorCtr="0">
                <a:noAutofit/>
              </a:bodyPr>
              <a:lstStyle/>
              <a:p>
                <a:pPr marL="0" marR="0" lvl="0" indent="0" algn="ctr" defTabSz="8001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Gill Sans MT"/>
                    <a:ea typeface="+mn-ea"/>
                    <a:cs typeface="+mn-cs"/>
                  </a:rPr>
                  <a:t>Procurement design</a:t>
                </a: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FE420595-D995-4A24-A56C-D1BF50C106FB}"/>
                  </a:ext>
                </a:extLst>
              </p:cNvPr>
              <p:cNvSpPr/>
              <p:nvPr/>
            </p:nvSpPr>
            <p:spPr>
              <a:xfrm>
                <a:off x="4871491" y="2242060"/>
                <a:ext cx="1768694" cy="850900"/>
              </a:xfrm>
              <a:custGeom>
                <a:avLst/>
                <a:gdLst>
                  <a:gd name="connsiteX0" fmla="*/ 0 w 1745443"/>
                  <a:gd name="connsiteY0" fmla="*/ 0 h 496296"/>
                  <a:gd name="connsiteX1" fmla="*/ 1497295 w 1745443"/>
                  <a:gd name="connsiteY1" fmla="*/ 0 h 496296"/>
                  <a:gd name="connsiteX2" fmla="*/ 1745443 w 1745443"/>
                  <a:gd name="connsiteY2" fmla="*/ 248148 h 496296"/>
                  <a:gd name="connsiteX3" fmla="*/ 1497295 w 1745443"/>
                  <a:gd name="connsiteY3" fmla="*/ 496296 h 496296"/>
                  <a:gd name="connsiteX4" fmla="*/ 0 w 1745443"/>
                  <a:gd name="connsiteY4" fmla="*/ 496296 h 496296"/>
                  <a:gd name="connsiteX5" fmla="*/ 248148 w 1745443"/>
                  <a:gd name="connsiteY5" fmla="*/ 248148 h 496296"/>
                  <a:gd name="connsiteX6" fmla="*/ 0 w 1745443"/>
                  <a:gd name="connsiteY6" fmla="*/ 0 h 496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45443" h="496296">
                    <a:moveTo>
                      <a:pt x="0" y="0"/>
                    </a:moveTo>
                    <a:lnTo>
                      <a:pt x="1497295" y="0"/>
                    </a:lnTo>
                    <a:lnTo>
                      <a:pt x="1745443" y="248148"/>
                    </a:lnTo>
                    <a:lnTo>
                      <a:pt x="1497295" y="496296"/>
                    </a:lnTo>
                    <a:lnTo>
                      <a:pt x="0" y="496296"/>
                    </a:lnTo>
                    <a:lnTo>
                      <a:pt x="248148" y="2481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  <a:alpha val="40000"/>
                </a:schemeClr>
              </a:solidFill>
              <a:ln w="254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</a:ln>
              <a:effectLst/>
            </p:spPr>
            <p:txBody>
              <a:bodyPr spcFirstLastPara="0" vert="horz" wrap="square" lIns="320157" tIns="24003" rIns="272151" bIns="24003" numCol="1" spcCol="1270" anchor="ctr" anchorCtr="0">
                <a:noAutofit/>
              </a:bodyPr>
              <a:lstStyle/>
              <a:p>
                <a:pPr marL="0" marR="0" lvl="0" indent="0" algn="ctr" defTabSz="8001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 err="1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Gill Sans MT"/>
                    <a:ea typeface="+mn-ea"/>
                    <a:cs typeface="+mn-cs"/>
                  </a:rPr>
                  <a:t>Imple</a:t>
                </a: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Gill Sans MT"/>
                    <a:ea typeface="+mn-ea"/>
                    <a:cs typeface="+mn-cs"/>
                  </a:rPr>
                  <a:t>-mentation</a:t>
                </a: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5F219978-9019-408F-874C-5BAED6AD7DE3}"/>
                  </a:ext>
                </a:extLst>
              </p:cNvPr>
              <p:cNvSpPr/>
              <p:nvPr/>
            </p:nvSpPr>
            <p:spPr>
              <a:xfrm>
                <a:off x="6450201" y="2242060"/>
                <a:ext cx="1768694" cy="850900"/>
              </a:xfrm>
              <a:custGeom>
                <a:avLst/>
                <a:gdLst>
                  <a:gd name="connsiteX0" fmla="*/ 0 w 1362074"/>
                  <a:gd name="connsiteY0" fmla="*/ 0 h 496296"/>
                  <a:gd name="connsiteX1" fmla="*/ 1113926 w 1362074"/>
                  <a:gd name="connsiteY1" fmla="*/ 0 h 496296"/>
                  <a:gd name="connsiteX2" fmla="*/ 1362074 w 1362074"/>
                  <a:gd name="connsiteY2" fmla="*/ 248148 h 496296"/>
                  <a:gd name="connsiteX3" fmla="*/ 1113926 w 1362074"/>
                  <a:gd name="connsiteY3" fmla="*/ 496296 h 496296"/>
                  <a:gd name="connsiteX4" fmla="*/ 0 w 1362074"/>
                  <a:gd name="connsiteY4" fmla="*/ 496296 h 496296"/>
                  <a:gd name="connsiteX5" fmla="*/ 248148 w 1362074"/>
                  <a:gd name="connsiteY5" fmla="*/ 248148 h 496296"/>
                  <a:gd name="connsiteX6" fmla="*/ 0 w 1362074"/>
                  <a:gd name="connsiteY6" fmla="*/ 0 h 496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2074" h="496296">
                    <a:moveTo>
                      <a:pt x="0" y="0"/>
                    </a:moveTo>
                    <a:lnTo>
                      <a:pt x="1113926" y="0"/>
                    </a:lnTo>
                    <a:lnTo>
                      <a:pt x="1362074" y="248148"/>
                    </a:lnTo>
                    <a:lnTo>
                      <a:pt x="1113926" y="496296"/>
                    </a:lnTo>
                    <a:lnTo>
                      <a:pt x="0" y="496296"/>
                    </a:lnTo>
                    <a:lnTo>
                      <a:pt x="248148" y="2481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  <a:alpha val="40000"/>
                </a:schemeClr>
              </a:solidFill>
              <a:ln w="254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</a:ln>
              <a:effectLst/>
            </p:spPr>
            <p:txBody>
              <a:bodyPr spcFirstLastPara="0" vert="horz" wrap="square" lIns="320157" tIns="24003" rIns="272151" bIns="24003" numCol="1" spcCol="1270" anchor="ctr" anchorCtr="0">
                <a:noAutofit/>
              </a:bodyPr>
              <a:lstStyle/>
              <a:p>
                <a:pPr marL="0" marR="0" lvl="0" indent="0" algn="ctr" defTabSz="8001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Gill Sans MT"/>
                    <a:ea typeface="+mn-ea"/>
                    <a:cs typeface="+mn-cs"/>
                  </a:rPr>
                  <a:t>Evaluation</a:t>
                </a:r>
              </a:p>
            </p:txBody>
          </p:sp>
          <p:cxnSp>
            <p:nvCxnSpPr>
              <p:cNvPr id="20" name="Connector: Elbow 19">
                <a:extLst>
                  <a:ext uri="{FF2B5EF4-FFF2-40B4-BE49-F238E27FC236}">
                    <a16:creationId xmlns:a16="http://schemas.microsoft.com/office/drawing/2014/main" id="{2A71B6C9-C014-4640-81C5-9C6E7ADAF7EE}"/>
                  </a:ext>
                </a:extLst>
              </p:cNvPr>
              <p:cNvCxnSpPr/>
              <p:nvPr/>
            </p:nvCxnSpPr>
            <p:spPr bwMode="auto">
              <a:xfrm flipH="1">
                <a:off x="3870117" y="2242060"/>
                <a:ext cx="3607305" cy="12700"/>
              </a:xfrm>
              <a:prstGeom prst="bentConnector5">
                <a:avLst>
                  <a:gd name="adj1" fmla="val 0"/>
                  <a:gd name="adj2" fmla="val -2676732"/>
                  <a:gd name="adj3" fmla="val 99595"/>
                </a:avLst>
              </a:prstGeom>
              <a:solidFill>
                <a:srgbClr val="555759"/>
              </a:solidFill>
              <a:ln w="12700" cap="flat" cmpd="sng" algn="ctr">
                <a:solidFill>
                  <a:srgbClr val="555759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21" name="Connector: Elbow 20">
                <a:extLst>
                  <a:ext uri="{FF2B5EF4-FFF2-40B4-BE49-F238E27FC236}">
                    <a16:creationId xmlns:a16="http://schemas.microsoft.com/office/drawing/2014/main" id="{FDF38C37-0762-422E-97A9-553920D34812}"/>
                  </a:ext>
                </a:extLst>
              </p:cNvPr>
              <p:cNvCxnSpPr/>
              <p:nvPr/>
            </p:nvCxnSpPr>
            <p:spPr bwMode="auto">
              <a:xfrm flipH="1">
                <a:off x="343134" y="2253741"/>
                <a:ext cx="7140903" cy="12700"/>
              </a:xfrm>
              <a:prstGeom prst="bentConnector5">
                <a:avLst>
                  <a:gd name="adj1" fmla="val 0"/>
                  <a:gd name="adj2" fmla="val -3704457"/>
                  <a:gd name="adj3" fmla="val 100113"/>
                </a:avLst>
              </a:prstGeom>
              <a:solidFill>
                <a:srgbClr val="555759"/>
              </a:solidFill>
              <a:ln w="12700" cap="flat" cmpd="sng" algn="ctr">
                <a:solidFill>
                  <a:srgbClr val="555759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22" name="Connector: Elbow 21">
                <a:extLst>
                  <a:ext uri="{FF2B5EF4-FFF2-40B4-BE49-F238E27FC236}">
                    <a16:creationId xmlns:a16="http://schemas.microsoft.com/office/drawing/2014/main" id="{2C26A57D-42DD-4C43-BD41-9A9048ECA6FB}"/>
                  </a:ext>
                </a:extLst>
              </p:cNvPr>
              <p:cNvCxnSpPr/>
              <p:nvPr/>
            </p:nvCxnSpPr>
            <p:spPr bwMode="auto">
              <a:xfrm flipH="1">
                <a:off x="5680386" y="2253741"/>
                <a:ext cx="1803651" cy="12700"/>
              </a:xfrm>
              <a:prstGeom prst="bentConnector5">
                <a:avLst>
                  <a:gd name="adj1" fmla="val 0"/>
                  <a:gd name="adj2" fmla="val -1591583"/>
                  <a:gd name="adj3" fmla="val 99810"/>
                </a:avLst>
              </a:prstGeom>
              <a:solidFill>
                <a:srgbClr val="555759"/>
              </a:solidFill>
              <a:ln w="12700" cap="flat" cmpd="sng" algn="ctr">
                <a:solidFill>
                  <a:srgbClr val="555759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18338AE-18AC-4C3B-8DE8-46ED48433600}"/>
                </a:ext>
              </a:extLst>
            </p:cNvPr>
            <p:cNvSpPr txBox="1"/>
            <p:nvPr/>
          </p:nvSpPr>
          <p:spPr>
            <a:xfrm>
              <a:off x="759384" y="2478613"/>
              <a:ext cx="18155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6C6463"/>
                  </a:solidFill>
                  <a:effectLst/>
                  <a:uLnTx/>
                  <a:uFillTx/>
                  <a:latin typeface="Gill Sans MT"/>
                  <a:ea typeface="+mn-ea"/>
                  <a:cs typeface="Arial" charset="0"/>
                </a:rPr>
                <a:t>Policy</a:t>
              </a:r>
              <a:r>
                <a:rPr kumimoji="0" lang="de-DE" sz="1400" b="0" i="0" u="none" strike="noStrike" kern="0" cap="none" spc="0" normalizeH="0" baseline="0" noProof="0">
                  <a:ln>
                    <a:noFill/>
                  </a:ln>
                  <a:solidFill>
                    <a:srgbClr val="6C6463"/>
                  </a:solidFill>
                  <a:effectLst/>
                  <a:uLnTx/>
                  <a:uFillTx/>
                  <a:latin typeface="Gill Sans MT"/>
                  <a:ea typeface="+mn-ea"/>
                  <a:cs typeface="Arial" charset="0"/>
                </a:rPr>
                <a:t> </a:t>
              </a: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6C6463"/>
                  </a:solidFill>
                  <a:effectLst/>
                  <a:uLnTx/>
                  <a:uFillTx/>
                  <a:latin typeface="Gill Sans MT"/>
                  <a:ea typeface="+mn-ea"/>
                  <a:cs typeface="Arial" charset="0"/>
                </a:rPr>
                <a:t>goals 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F11A185-A83F-4347-A1F7-4292237510CC}"/>
                </a:ext>
              </a:extLst>
            </p:cNvPr>
            <p:cNvSpPr txBox="1"/>
            <p:nvPr/>
          </p:nvSpPr>
          <p:spPr>
            <a:xfrm>
              <a:off x="2144167" y="2478613"/>
              <a:ext cx="1774353" cy="24160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6C6463"/>
                  </a:solidFill>
                  <a:effectLst/>
                  <a:uLnTx/>
                  <a:uFillTx/>
                  <a:latin typeface="Gill Sans MT"/>
                  <a:ea typeface="+mn-ea"/>
                  <a:cs typeface="Arial" charset="0"/>
                </a:rPr>
                <a:t>Market size</a:t>
              </a:r>
            </a:p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i="0" u="none" strike="noStrike" kern="0" cap="none" spc="0" normalizeH="0" baseline="0" noProof="0">
                  <a:ln>
                    <a:noFill/>
                  </a:ln>
                  <a:solidFill>
                    <a:srgbClr val="6C6463"/>
                  </a:solidFill>
                  <a:effectLst/>
                  <a:uLnTx/>
                  <a:uFillTx/>
                  <a:latin typeface="Gill Sans MT"/>
                  <a:ea typeface="+mn-ea"/>
                  <a:cs typeface="Arial" charset="0"/>
                </a:rPr>
                <a:t>P</a:t>
              </a: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6C6463"/>
                  </a:solidFill>
                  <a:effectLst/>
                  <a:uLnTx/>
                  <a:uFillTx/>
                  <a:latin typeface="Gill Sans MT"/>
                  <a:ea typeface="+mn-ea"/>
                  <a:cs typeface="Arial" charset="0"/>
                </a:rPr>
                <a:t>re-developed project</a:t>
              </a:r>
            </a:p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6C6463"/>
                  </a:solidFill>
                  <a:effectLst/>
                  <a:uLnTx/>
                  <a:uFillTx/>
                  <a:latin typeface="Gill Sans MT"/>
                  <a:ea typeface="+mn-ea"/>
                  <a:cs typeface="Arial" charset="0"/>
                </a:rPr>
                <a:t>Market players</a:t>
              </a:r>
            </a:p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6C6463"/>
                  </a:solidFill>
                  <a:effectLst/>
                  <a:uLnTx/>
                  <a:uFillTx/>
                  <a:latin typeface="Gill Sans MT"/>
                  <a:ea typeface="+mn-ea"/>
                  <a:cs typeface="Arial" charset="0"/>
                </a:rPr>
                <a:t>Technology cost</a:t>
              </a:r>
            </a:p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6C6463"/>
                  </a:solidFill>
                  <a:effectLst/>
                  <a:uLnTx/>
                  <a:uFillTx/>
                  <a:latin typeface="Gill Sans MT"/>
                  <a:ea typeface="+mn-ea"/>
                  <a:cs typeface="Arial" charset="0"/>
                </a:rPr>
                <a:t>Project development &amp; operation</a:t>
              </a:r>
            </a:p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cap="none" spc="0" normalizeH="0" baseline="0" noProof="0">
                  <a:ln>
                    <a:noFill/>
                  </a:ln>
                  <a:solidFill>
                    <a:srgbClr val="6C6463"/>
                  </a:solidFill>
                  <a:effectLst/>
                  <a:uLnTx/>
                  <a:uFillTx/>
                  <a:latin typeface="Gill Sans MT"/>
                  <a:ea typeface="+mn-ea"/>
                  <a:cs typeface="Arial" charset="0"/>
                </a:rPr>
                <a:t>Existing regulations &amp; incentives </a:t>
              </a:r>
            </a:p>
          </p:txBody>
        </p:sp>
      </p:grpSp>
      <p:sp>
        <p:nvSpPr>
          <p:cNvPr id="5" name="Title 4" descr="Defining targets and understanding the market &amp; regulatory analysis are essential input for design">
            <a:extLst>
              <a:ext uri="{FF2B5EF4-FFF2-40B4-BE49-F238E27FC236}">
                <a16:creationId xmlns:a16="http://schemas.microsoft.com/office/drawing/2014/main" id="{669E3614-6266-4F5D-A329-7DD5DE358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Defining targets and understanding the market &amp; regulatory analysis are essential input for desig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945FAE6-C700-4E21-9D77-F58802551E8B}"/>
              </a:ext>
            </a:extLst>
          </p:cNvPr>
          <p:cNvSpPr txBox="1"/>
          <p:nvPr/>
        </p:nvSpPr>
        <p:spPr>
          <a:xfrm>
            <a:off x="7233994" y="154306"/>
            <a:ext cx="175724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Definition and advantages of auctions</a:t>
            </a:r>
          </a:p>
        </p:txBody>
      </p:sp>
    </p:spTree>
    <p:extLst>
      <p:ext uri="{BB962C8B-B14F-4D97-AF65-F5344CB8AC3E}">
        <p14:creationId xmlns:p14="http://schemas.microsoft.com/office/powerpoint/2010/main" val="19307992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KpSZxhdd1ZFB5SyHOc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.9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ED43418300424CA7B146638E3B7A8F" ma:contentTypeVersion="13" ma:contentTypeDescription="Create a new document." ma:contentTypeScope="" ma:versionID="2fe62fcb9174efa6973dc26662234bb1">
  <xsd:schema xmlns:xsd="http://www.w3.org/2001/XMLSchema" xmlns:xs="http://www.w3.org/2001/XMLSchema" xmlns:p="http://schemas.microsoft.com/office/2006/metadata/properties" xmlns:ns3="d4ece201-1ec3-4266-a8e0-0b4e6e67a276" xmlns:ns4="11f94206-449f-4a4d-a484-d79428c0a2f7" targetNamespace="http://schemas.microsoft.com/office/2006/metadata/properties" ma:root="true" ma:fieldsID="c7313ff21738f702f94f4f46105f6d3d" ns3:_="" ns4:_="">
    <xsd:import namespace="d4ece201-1ec3-4266-a8e0-0b4e6e67a276"/>
    <xsd:import namespace="11f94206-449f-4a4d-a484-d79428c0a2f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3:SharedWithDetails" minOccurs="0"/>
                <xsd:element ref="ns3:SharingHintHash" minOccurs="0"/>
                <xsd:element ref="ns4:MediaServiceLocation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ece201-1ec3-4266-a8e0-0b4e6e67a27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f94206-449f-4a4d-a484-d79428c0a2f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2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614013B-1707-4611-BA07-98D0B76DDEFF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11f94206-449f-4a4d-a484-d79428c0a2f7"/>
    <ds:schemaRef ds:uri="http://purl.org/dc/elements/1.1/"/>
    <ds:schemaRef ds:uri="d4ece201-1ec3-4266-a8e0-0b4e6e67a276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29A874B-37C0-4B98-8ABB-7DB7ABF4BA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4ece201-1ec3-4266-a8e0-0b4e6e67a276"/>
    <ds:schemaRef ds:uri="11f94206-449f-4a4d-a484-d79428c0a2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D3D4AFC-454A-47A9-A1B5-4BBB89F9FCE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.9-Template_4.29.2016</Template>
  <TotalTime>1389</TotalTime>
  <Words>1317</Words>
  <Application>Microsoft Office PowerPoint</Application>
  <PresentationFormat>Custom</PresentationFormat>
  <Paragraphs>221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Arial</vt:lpstr>
      <vt:lpstr>Calibri</vt:lpstr>
      <vt:lpstr>Gill Sans MT</vt:lpstr>
      <vt:lpstr>Verdana</vt:lpstr>
      <vt:lpstr>Wingdings</vt:lpstr>
      <vt:lpstr>16.9-Template_4.29.2016</vt:lpstr>
      <vt:lpstr>think-cell Slide</vt:lpstr>
      <vt:lpstr>Auction Design – Part 1</vt:lpstr>
      <vt:lpstr>Agenda</vt:lpstr>
      <vt:lpstr>3 ways to determine RE tariffs: competitive procurement, negotiated procurement, administrative feed-in tariffs</vt:lpstr>
      <vt:lpstr>Admin. feed-in tariffs provide high certainty for producers, but little volume control and price competition</vt:lpstr>
      <vt:lpstr>Negotiated procurement provides flexibility, but less scalable and transparent</vt:lpstr>
      <vt:lpstr>Competitive procurement provides strong volume control, price pressure and scalability, but needs competition</vt:lpstr>
      <vt:lpstr>… is competitive procurement always the best fit?</vt:lpstr>
      <vt:lpstr>… can competitive procurement be implemented in small RE markets?</vt:lpstr>
      <vt:lpstr>Defining targets and understanding the market &amp; regulatory analysis are essential input for design</vt:lpstr>
      <vt:lpstr>RE targets and policy objectives need to be discussed and clarified early in the process</vt:lpstr>
      <vt:lpstr>Competitive procurement needs to fit local market conditions to be successful</vt:lpstr>
      <vt:lpstr>Focus on auctions:  overview of competitive procurement design</vt:lpstr>
      <vt:lpstr>Overview of different design elements and functions</vt:lpstr>
      <vt:lpstr>Site selection and preparation: benefits and challenges</vt:lpstr>
      <vt:lpstr>Site selection and preparation: country examples</vt:lpstr>
      <vt:lpstr>Simulation – the winner‘s curse</vt:lpstr>
      <vt:lpstr>Introduction to the problem of the winner‘s curse</vt:lpstr>
      <vt:lpstr>Selecting permitting required before the auction is crucial</vt:lpstr>
      <vt:lpstr>Conditions for participation: balance is the key</vt:lpstr>
      <vt:lpstr>Be careful not to overburden bidders: In Mexico,  EDF needed to interact with 13 agenci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newable Energy Auction Design</dc:title>
  <dc:subject>The first part of Navigant's training on renewable energy auction design.</dc:subject>
  <dc:creator>Navigant--A Guidehouse Company</dc:creator>
  <cp:keywords>Renewable energy auction design</cp:keywords>
  <cp:lastModifiedBy>Bradley, Bridget</cp:lastModifiedBy>
  <cp:revision>111</cp:revision>
  <dcterms:created xsi:type="dcterms:W3CDTF">2016-05-03T19:58:32Z</dcterms:created>
  <dcterms:modified xsi:type="dcterms:W3CDTF">2020-07-02T18:45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ED43418300424CA7B146638E3B7A8F</vt:lpwstr>
  </property>
</Properties>
</file>